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67727-5DC1-AF00-6932-08361CAB3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8D70C4-7FBF-2FDA-7313-FEABD3FD0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A7E910-B8E6-997E-9994-305176C74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4115BC7-4A4B-1E1F-F2E2-F8DF1E3464D4}"/>
              </a:ext>
            </a:extLst>
          </p:cNvPr>
          <p:cNvGrpSpPr/>
          <p:nvPr/>
        </p:nvGrpSpPr>
        <p:grpSpPr>
          <a:xfrm>
            <a:off x="3259388" y="1731779"/>
            <a:ext cx="7266122" cy="4271102"/>
            <a:chOff x="2404843" y="1632148"/>
            <a:chExt cx="7215598" cy="4241404"/>
          </a:xfrm>
          <a:solidFill>
            <a:schemeClr val="bg1">
              <a:lumMod val="85000"/>
            </a:schemeClr>
          </a:solidFill>
        </p:grpSpPr>
        <p:sp>
          <p:nvSpPr>
            <p:cNvPr id="7" name="Google Shape;20169;p275">
              <a:extLst>
                <a:ext uri="{FF2B5EF4-FFF2-40B4-BE49-F238E27FC236}">
                  <a16:creationId xmlns:a16="http://schemas.microsoft.com/office/drawing/2014/main" id="{A1331125-3854-237D-9F81-4B0B2F32FAA9}"/>
                </a:ext>
              </a:extLst>
            </p:cNvPr>
            <p:cNvSpPr/>
            <p:nvPr/>
          </p:nvSpPr>
          <p:spPr>
            <a:xfrm>
              <a:off x="8941910" y="2554192"/>
              <a:ext cx="200959" cy="293163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2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9" y="22"/>
                  </a:lnTo>
                  <a:lnTo>
                    <a:pt x="14" y="29"/>
                  </a:lnTo>
                  <a:lnTo>
                    <a:pt x="16" y="34"/>
                  </a:lnTo>
                  <a:lnTo>
                    <a:pt x="19" y="41"/>
                  </a:lnTo>
                  <a:lnTo>
                    <a:pt x="26" y="43"/>
                  </a:lnTo>
                  <a:lnTo>
                    <a:pt x="28" y="46"/>
                  </a:lnTo>
                  <a:lnTo>
                    <a:pt x="33" y="53"/>
                  </a:lnTo>
                  <a:lnTo>
                    <a:pt x="38" y="62"/>
                  </a:lnTo>
                  <a:lnTo>
                    <a:pt x="45" y="67"/>
                  </a:lnTo>
                  <a:lnTo>
                    <a:pt x="49" y="76"/>
                  </a:lnTo>
                  <a:lnTo>
                    <a:pt x="49" y="88"/>
                  </a:lnTo>
                  <a:lnTo>
                    <a:pt x="54" y="100"/>
                  </a:lnTo>
                  <a:lnTo>
                    <a:pt x="61" y="107"/>
                  </a:lnTo>
                  <a:lnTo>
                    <a:pt x="66" y="117"/>
                  </a:lnTo>
                  <a:lnTo>
                    <a:pt x="71" y="124"/>
                  </a:lnTo>
                  <a:lnTo>
                    <a:pt x="76" y="124"/>
                  </a:lnTo>
                  <a:lnTo>
                    <a:pt x="78" y="122"/>
                  </a:lnTo>
                  <a:lnTo>
                    <a:pt x="83" y="122"/>
                  </a:lnTo>
                  <a:lnTo>
                    <a:pt x="85" y="119"/>
                  </a:lnTo>
                  <a:lnTo>
                    <a:pt x="85" y="115"/>
                  </a:lnTo>
                  <a:lnTo>
                    <a:pt x="80" y="110"/>
                  </a:lnTo>
                  <a:lnTo>
                    <a:pt x="73" y="105"/>
                  </a:lnTo>
                  <a:lnTo>
                    <a:pt x="68" y="98"/>
                  </a:lnTo>
                  <a:lnTo>
                    <a:pt x="61" y="93"/>
                  </a:lnTo>
                  <a:lnTo>
                    <a:pt x="61" y="86"/>
                  </a:lnTo>
                  <a:lnTo>
                    <a:pt x="66" y="86"/>
                  </a:lnTo>
                  <a:lnTo>
                    <a:pt x="71" y="91"/>
                  </a:lnTo>
                  <a:lnTo>
                    <a:pt x="76" y="93"/>
                  </a:lnTo>
                  <a:lnTo>
                    <a:pt x="76" y="88"/>
                  </a:lnTo>
                  <a:lnTo>
                    <a:pt x="76" y="81"/>
                  </a:lnTo>
                  <a:lnTo>
                    <a:pt x="68" y="76"/>
                  </a:lnTo>
                  <a:lnTo>
                    <a:pt x="61" y="69"/>
                  </a:lnTo>
                  <a:lnTo>
                    <a:pt x="57" y="62"/>
                  </a:lnTo>
                  <a:lnTo>
                    <a:pt x="47" y="53"/>
                  </a:lnTo>
                  <a:lnTo>
                    <a:pt x="42" y="48"/>
                  </a:lnTo>
                  <a:lnTo>
                    <a:pt x="35" y="38"/>
                  </a:lnTo>
                  <a:lnTo>
                    <a:pt x="30" y="29"/>
                  </a:lnTo>
                  <a:lnTo>
                    <a:pt x="26" y="24"/>
                  </a:lnTo>
                  <a:lnTo>
                    <a:pt x="19" y="19"/>
                  </a:lnTo>
                  <a:lnTo>
                    <a:pt x="14" y="12"/>
                  </a:lnTo>
                  <a:lnTo>
                    <a:pt x="7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20170;p275">
              <a:extLst>
                <a:ext uri="{FF2B5EF4-FFF2-40B4-BE49-F238E27FC236}">
                  <a16:creationId xmlns:a16="http://schemas.microsoft.com/office/drawing/2014/main" id="{AAD69F84-EC1A-49C6-12BD-434E506D8B44}"/>
                </a:ext>
              </a:extLst>
            </p:cNvPr>
            <p:cNvSpPr/>
            <p:nvPr/>
          </p:nvSpPr>
          <p:spPr>
            <a:xfrm>
              <a:off x="8941910" y="2554192"/>
              <a:ext cx="200959" cy="293163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2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9" y="22"/>
                  </a:lnTo>
                  <a:lnTo>
                    <a:pt x="14" y="29"/>
                  </a:lnTo>
                  <a:lnTo>
                    <a:pt x="16" y="34"/>
                  </a:lnTo>
                  <a:lnTo>
                    <a:pt x="19" y="41"/>
                  </a:lnTo>
                  <a:lnTo>
                    <a:pt x="26" y="43"/>
                  </a:lnTo>
                  <a:lnTo>
                    <a:pt x="28" y="46"/>
                  </a:lnTo>
                  <a:lnTo>
                    <a:pt x="33" y="53"/>
                  </a:lnTo>
                  <a:lnTo>
                    <a:pt x="38" y="62"/>
                  </a:lnTo>
                  <a:lnTo>
                    <a:pt x="45" y="67"/>
                  </a:lnTo>
                  <a:lnTo>
                    <a:pt x="49" y="76"/>
                  </a:lnTo>
                  <a:lnTo>
                    <a:pt x="49" y="88"/>
                  </a:lnTo>
                  <a:lnTo>
                    <a:pt x="54" y="100"/>
                  </a:lnTo>
                  <a:lnTo>
                    <a:pt x="61" y="107"/>
                  </a:lnTo>
                  <a:lnTo>
                    <a:pt x="66" y="117"/>
                  </a:lnTo>
                  <a:lnTo>
                    <a:pt x="71" y="124"/>
                  </a:lnTo>
                  <a:lnTo>
                    <a:pt x="76" y="124"/>
                  </a:lnTo>
                  <a:lnTo>
                    <a:pt x="78" y="122"/>
                  </a:lnTo>
                  <a:lnTo>
                    <a:pt x="83" y="122"/>
                  </a:lnTo>
                  <a:lnTo>
                    <a:pt x="85" y="119"/>
                  </a:lnTo>
                  <a:lnTo>
                    <a:pt x="85" y="115"/>
                  </a:lnTo>
                  <a:lnTo>
                    <a:pt x="80" y="110"/>
                  </a:lnTo>
                  <a:lnTo>
                    <a:pt x="73" y="105"/>
                  </a:lnTo>
                  <a:lnTo>
                    <a:pt x="68" y="98"/>
                  </a:lnTo>
                  <a:lnTo>
                    <a:pt x="61" y="93"/>
                  </a:lnTo>
                  <a:lnTo>
                    <a:pt x="61" y="86"/>
                  </a:lnTo>
                  <a:lnTo>
                    <a:pt x="66" y="86"/>
                  </a:lnTo>
                  <a:lnTo>
                    <a:pt x="71" y="91"/>
                  </a:lnTo>
                  <a:lnTo>
                    <a:pt x="76" y="93"/>
                  </a:lnTo>
                  <a:lnTo>
                    <a:pt x="76" y="88"/>
                  </a:lnTo>
                  <a:lnTo>
                    <a:pt x="76" y="81"/>
                  </a:lnTo>
                  <a:lnTo>
                    <a:pt x="68" y="76"/>
                  </a:lnTo>
                  <a:lnTo>
                    <a:pt x="61" y="69"/>
                  </a:lnTo>
                  <a:lnTo>
                    <a:pt x="57" y="62"/>
                  </a:lnTo>
                  <a:lnTo>
                    <a:pt x="47" y="53"/>
                  </a:lnTo>
                  <a:lnTo>
                    <a:pt x="42" y="48"/>
                  </a:lnTo>
                  <a:lnTo>
                    <a:pt x="35" y="38"/>
                  </a:lnTo>
                  <a:lnTo>
                    <a:pt x="30" y="29"/>
                  </a:lnTo>
                  <a:lnTo>
                    <a:pt x="26" y="24"/>
                  </a:lnTo>
                  <a:lnTo>
                    <a:pt x="19" y="19"/>
                  </a:lnTo>
                  <a:lnTo>
                    <a:pt x="14" y="12"/>
                  </a:lnTo>
                  <a:lnTo>
                    <a:pt x="7" y="3"/>
                  </a:lnTo>
                  <a:lnTo>
                    <a:pt x="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20171;p275">
              <a:extLst>
                <a:ext uri="{FF2B5EF4-FFF2-40B4-BE49-F238E27FC236}">
                  <a16:creationId xmlns:a16="http://schemas.microsoft.com/office/drawing/2014/main" id="{3D5938CF-B337-7F8B-B1B3-E42E1F5EC5CA}"/>
                </a:ext>
              </a:extLst>
            </p:cNvPr>
            <p:cNvSpPr/>
            <p:nvPr/>
          </p:nvSpPr>
          <p:spPr>
            <a:xfrm>
              <a:off x="9102677" y="2863905"/>
              <a:ext cx="118211" cy="113482"/>
            </a:xfrm>
            <a:custGeom>
              <a:avLst/>
              <a:gdLst/>
              <a:ahLst/>
              <a:cxnLst/>
              <a:rect l="l" t="t" r="r" b="b"/>
              <a:pathLst>
                <a:path w="50" h="48" extrusionOk="0">
                  <a:moveTo>
                    <a:pt x="8" y="0"/>
                  </a:moveTo>
                  <a:lnTo>
                    <a:pt x="3" y="0"/>
                  </a:lnTo>
                  <a:lnTo>
                    <a:pt x="3" y="5"/>
                  </a:lnTo>
                  <a:lnTo>
                    <a:pt x="5" y="12"/>
                  </a:lnTo>
                  <a:lnTo>
                    <a:pt x="8" y="17"/>
                  </a:lnTo>
                  <a:lnTo>
                    <a:pt x="5" y="22"/>
                  </a:lnTo>
                  <a:lnTo>
                    <a:pt x="3" y="26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5" y="48"/>
                  </a:lnTo>
                  <a:lnTo>
                    <a:pt x="10" y="48"/>
                  </a:lnTo>
                  <a:lnTo>
                    <a:pt x="15" y="45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22" y="36"/>
                  </a:lnTo>
                  <a:lnTo>
                    <a:pt x="27" y="36"/>
                  </a:lnTo>
                  <a:lnTo>
                    <a:pt x="31" y="41"/>
                  </a:lnTo>
                  <a:lnTo>
                    <a:pt x="38" y="41"/>
                  </a:lnTo>
                  <a:lnTo>
                    <a:pt x="43" y="41"/>
                  </a:lnTo>
                  <a:lnTo>
                    <a:pt x="46" y="33"/>
                  </a:lnTo>
                  <a:lnTo>
                    <a:pt x="48" y="31"/>
                  </a:lnTo>
                  <a:lnTo>
                    <a:pt x="50" y="26"/>
                  </a:lnTo>
                  <a:lnTo>
                    <a:pt x="48" y="19"/>
                  </a:lnTo>
                  <a:lnTo>
                    <a:pt x="46" y="12"/>
                  </a:lnTo>
                  <a:lnTo>
                    <a:pt x="41" y="12"/>
                  </a:lnTo>
                  <a:lnTo>
                    <a:pt x="34" y="14"/>
                  </a:lnTo>
                  <a:lnTo>
                    <a:pt x="27" y="14"/>
                  </a:lnTo>
                  <a:lnTo>
                    <a:pt x="19" y="12"/>
                  </a:lnTo>
                  <a:lnTo>
                    <a:pt x="15" y="5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20172;p275">
              <a:extLst>
                <a:ext uri="{FF2B5EF4-FFF2-40B4-BE49-F238E27FC236}">
                  <a16:creationId xmlns:a16="http://schemas.microsoft.com/office/drawing/2014/main" id="{0C25FE89-6445-D486-9E49-5CCE90C83FD7}"/>
                </a:ext>
              </a:extLst>
            </p:cNvPr>
            <p:cNvSpPr/>
            <p:nvPr/>
          </p:nvSpPr>
          <p:spPr>
            <a:xfrm>
              <a:off x="9102677" y="2863905"/>
              <a:ext cx="118211" cy="113482"/>
            </a:xfrm>
            <a:custGeom>
              <a:avLst/>
              <a:gdLst/>
              <a:ahLst/>
              <a:cxnLst/>
              <a:rect l="l" t="t" r="r" b="b"/>
              <a:pathLst>
                <a:path w="50" h="48" extrusionOk="0">
                  <a:moveTo>
                    <a:pt x="8" y="0"/>
                  </a:moveTo>
                  <a:lnTo>
                    <a:pt x="3" y="0"/>
                  </a:lnTo>
                  <a:lnTo>
                    <a:pt x="3" y="5"/>
                  </a:lnTo>
                  <a:lnTo>
                    <a:pt x="5" y="12"/>
                  </a:lnTo>
                  <a:lnTo>
                    <a:pt x="8" y="17"/>
                  </a:lnTo>
                  <a:lnTo>
                    <a:pt x="5" y="22"/>
                  </a:lnTo>
                  <a:lnTo>
                    <a:pt x="3" y="26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5" y="48"/>
                  </a:lnTo>
                  <a:lnTo>
                    <a:pt x="10" y="48"/>
                  </a:lnTo>
                  <a:lnTo>
                    <a:pt x="15" y="45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22" y="36"/>
                  </a:lnTo>
                  <a:lnTo>
                    <a:pt x="27" y="36"/>
                  </a:lnTo>
                  <a:lnTo>
                    <a:pt x="31" y="41"/>
                  </a:lnTo>
                  <a:lnTo>
                    <a:pt x="38" y="41"/>
                  </a:lnTo>
                  <a:lnTo>
                    <a:pt x="43" y="41"/>
                  </a:lnTo>
                  <a:lnTo>
                    <a:pt x="46" y="33"/>
                  </a:lnTo>
                  <a:lnTo>
                    <a:pt x="48" y="31"/>
                  </a:lnTo>
                  <a:lnTo>
                    <a:pt x="50" y="26"/>
                  </a:lnTo>
                  <a:lnTo>
                    <a:pt x="48" y="19"/>
                  </a:lnTo>
                  <a:lnTo>
                    <a:pt x="46" y="12"/>
                  </a:lnTo>
                  <a:lnTo>
                    <a:pt x="41" y="12"/>
                  </a:lnTo>
                  <a:lnTo>
                    <a:pt x="34" y="14"/>
                  </a:lnTo>
                  <a:lnTo>
                    <a:pt x="27" y="14"/>
                  </a:lnTo>
                  <a:lnTo>
                    <a:pt x="19" y="12"/>
                  </a:lnTo>
                  <a:lnTo>
                    <a:pt x="15" y="5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173;p275">
              <a:extLst>
                <a:ext uri="{FF2B5EF4-FFF2-40B4-BE49-F238E27FC236}">
                  <a16:creationId xmlns:a16="http://schemas.microsoft.com/office/drawing/2014/main" id="{6660BC9C-F9A2-DD09-1AF4-8E80673B7B18}"/>
                </a:ext>
              </a:extLst>
            </p:cNvPr>
            <p:cNvSpPr/>
            <p:nvPr/>
          </p:nvSpPr>
          <p:spPr>
            <a:xfrm>
              <a:off x="8951367" y="2982115"/>
              <a:ext cx="260064" cy="338083"/>
            </a:xfrm>
            <a:custGeom>
              <a:avLst/>
              <a:gdLst/>
              <a:ahLst/>
              <a:cxnLst/>
              <a:rect l="l" t="t" r="r" b="b"/>
              <a:pathLst>
                <a:path w="110" h="143" extrusionOk="0">
                  <a:moveTo>
                    <a:pt x="83" y="0"/>
                  </a:moveTo>
                  <a:lnTo>
                    <a:pt x="79" y="3"/>
                  </a:lnTo>
                  <a:lnTo>
                    <a:pt x="79" y="10"/>
                  </a:lnTo>
                  <a:lnTo>
                    <a:pt x="79" y="17"/>
                  </a:lnTo>
                  <a:lnTo>
                    <a:pt x="79" y="26"/>
                  </a:lnTo>
                  <a:lnTo>
                    <a:pt x="79" y="36"/>
                  </a:lnTo>
                  <a:lnTo>
                    <a:pt x="79" y="45"/>
                  </a:lnTo>
                  <a:lnTo>
                    <a:pt x="79" y="55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67" y="57"/>
                  </a:lnTo>
                  <a:lnTo>
                    <a:pt x="62" y="55"/>
                  </a:lnTo>
                  <a:lnTo>
                    <a:pt x="60" y="57"/>
                  </a:lnTo>
                  <a:lnTo>
                    <a:pt x="60" y="67"/>
                  </a:lnTo>
                  <a:lnTo>
                    <a:pt x="60" y="72"/>
                  </a:lnTo>
                  <a:lnTo>
                    <a:pt x="57" y="76"/>
                  </a:lnTo>
                  <a:lnTo>
                    <a:pt x="55" y="81"/>
                  </a:lnTo>
                  <a:lnTo>
                    <a:pt x="43" y="81"/>
                  </a:lnTo>
                  <a:lnTo>
                    <a:pt x="31" y="79"/>
                  </a:lnTo>
                  <a:lnTo>
                    <a:pt x="29" y="83"/>
                  </a:lnTo>
                  <a:lnTo>
                    <a:pt x="26" y="88"/>
                  </a:lnTo>
                  <a:lnTo>
                    <a:pt x="24" y="95"/>
                  </a:lnTo>
                  <a:lnTo>
                    <a:pt x="24" y="100"/>
                  </a:lnTo>
                  <a:lnTo>
                    <a:pt x="19" y="102"/>
                  </a:lnTo>
                  <a:lnTo>
                    <a:pt x="15" y="107"/>
                  </a:lnTo>
                  <a:lnTo>
                    <a:pt x="7" y="107"/>
                  </a:lnTo>
                  <a:lnTo>
                    <a:pt x="0" y="112"/>
                  </a:lnTo>
                  <a:lnTo>
                    <a:pt x="3" y="117"/>
                  </a:lnTo>
                  <a:lnTo>
                    <a:pt x="10" y="119"/>
                  </a:lnTo>
                  <a:lnTo>
                    <a:pt x="19" y="122"/>
                  </a:lnTo>
                  <a:lnTo>
                    <a:pt x="19" y="129"/>
                  </a:lnTo>
                  <a:lnTo>
                    <a:pt x="19" y="138"/>
                  </a:lnTo>
                  <a:lnTo>
                    <a:pt x="22" y="143"/>
                  </a:lnTo>
                  <a:lnTo>
                    <a:pt x="29" y="143"/>
                  </a:lnTo>
                  <a:lnTo>
                    <a:pt x="34" y="143"/>
                  </a:lnTo>
                  <a:lnTo>
                    <a:pt x="34" y="136"/>
                  </a:lnTo>
                  <a:lnTo>
                    <a:pt x="34" y="126"/>
                  </a:lnTo>
                  <a:lnTo>
                    <a:pt x="31" y="119"/>
                  </a:lnTo>
                  <a:lnTo>
                    <a:pt x="26" y="110"/>
                  </a:lnTo>
                  <a:lnTo>
                    <a:pt x="26" y="102"/>
                  </a:lnTo>
                  <a:lnTo>
                    <a:pt x="34" y="95"/>
                  </a:lnTo>
                  <a:lnTo>
                    <a:pt x="43" y="95"/>
                  </a:lnTo>
                  <a:lnTo>
                    <a:pt x="53" y="95"/>
                  </a:lnTo>
                  <a:lnTo>
                    <a:pt x="60" y="98"/>
                  </a:lnTo>
                  <a:lnTo>
                    <a:pt x="60" y="105"/>
                  </a:lnTo>
                  <a:lnTo>
                    <a:pt x="62" y="110"/>
                  </a:lnTo>
                  <a:lnTo>
                    <a:pt x="67" y="112"/>
                  </a:lnTo>
                  <a:lnTo>
                    <a:pt x="67" y="105"/>
                  </a:lnTo>
                  <a:lnTo>
                    <a:pt x="69" y="98"/>
                  </a:lnTo>
                  <a:lnTo>
                    <a:pt x="72" y="93"/>
                  </a:lnTo>
                  <a:lnTo>
                    <a:pt x="74" y="88"/>
                  </a:lnTo>
                  <a:lnTo>
                    <a:pt x="83" y="86"/>
                  </a:lnTo>
                  <a:lnTo>
                    <a:pt x="91" y="83"/>
                  </a:lnTo>
                  <a:lnTo>
                    <a:pt x="102" y="86"/>
                  </a:lnTo>
                  <a:lnTo>
                    <a:pt x="110" y="83"/>
                  </a:lnTo>
                  <a:lnTo>
                    <a:pt x="110" y="74"/>
                  </a:lnTo>
                  <a:lnTo>
                    <a:pt x="102" y="69"/>
                  </a:lnTo>
                  <a:lnTo>
                    <a:pt x="100" y="62"/>
                  </a:lnTo>
                  <a:lnTo>
                    <a:pt x="98" y="55"/>
                  </a:lnTo>
                  <a:lnTo>
                    <a:pt x="100" y="45"/>
                  </a:lnTo>
                  <a:lnTo>
                    <a:pt x="102" y="29"/>
                  </a:lnTo>
                  <a:lnTo>
                    <a:pt x="98" y="22"/>
                  </a:lnTo>
                  <a:lnTo>
                    <a:pt x="93" y="10"/>
                  </a:lnTo>
                  <a:lnTo>
                    <a:pt x="88" y="3"/>
                  </a:lnTo>
                  <a:lnTo>
                    <a:pt x="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174;p275">
              <a:extLst>
                <a:ext uri="{FF2B5EF4-FFF2-40B4-BE49-F238E27FC236}">
                  <a16:creationId xmlns:a16="http://schemas.microsoft.com/office/drawing/2014/main" id="{49598032-2B22-C181-2DEE-423F5EEB6CDF}"/>
                </a:ext>
              </a:extLst>
            </p:cNvPr>
            <p:cNvSpPr/>
            <p:nvPr/>
          </p:nvSpPr>
          <p:spPr>
            <a:xfrm>
              <a:off x="8951367" y="2982115"/>
              <a:ext cx="260064" cy="338083"/>
            </a:xfrm>
            <a:custGeom>
              <a:avLst/>
              <a:gdLst/>
              <a:ahLst/>
              <a:cxnLst/>
              <a:rect l="l" t="t" r="r" b="b"/>
              <a:pathLst>
                <a:path w="110" h="143" extrusionOk="0">
                  <a:moveTo>
                    <a:pt x="83" y="0"/>
                  </a:moveTo>
                  <a:lnTo>
                    <a:pt x="79" y="3"/>
                  </a:lnTo>
                  <a:lnTo>
                    <a:pt x="79" y="10"/>
                  </a:lnTo>
                  <a:lnTo>
                    <a:pt x="79" y="17"/>
                  </a:lnTo>
                  <a:lnTo>
                    <a:pt x="79" y="26"/>
                  </a:lnTo>
                  <a:lnTo>
                    <a:pt x="79" y="36"/>
                  </a:lnTo>
                  <a:lnTo>
                    <a:pt x="79" y="45"/>
                  </a:lnTo>
                  <a:lnTo>
                    <a:pt x="79" y="55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67" y="57"/>
                  </a:lnTo>
                  <a:lnTo>
                    <a:pt x="62" y="55"/>
                  </a:lnTo>
                  <a:lnTo>
                    <a:pt x="60" y="57"/>
                  </a:lnTo>
                  <a:lnTo>
                    <a:pt x="60" y="67"/>
                  </a:lnTo>
                  <a:lnTo>
                    <a:pt x="60" y="72"/>
                  </a:lnTo>
                  <a:lnTo>
                    <a:pt x="57" y="76"/>
                  </a:lnTo>
                  <a:lnTo>
                    <a:pt x="55" y="81"/>
                  </a:lnTo>
                  <a:lnTo>
                    <a:pt x="43" y="81"/>
                  </a:lnTo>
                  <a:lnTo>
                    <a:pt x="31" y="79"/>
                  </a:lnTo>
                  <a:lnTo>
                    <a:pt x="29" y="83"/>
                  </a:lnTo>
                  <a:lnTo>
                    <a:pt x="26" y="88"/>
                  </a:lnTo>
                  <a:lnTo>
                    <a:pt x="24" y="95"/>
                  </a:lnTo>
                  <a:lnTo>
                    <a:pt x="24" y="100"/>
                  </a:lnTo>
                  <a:lnTo>
                    <a:pt x="19" y="102"/>
                  </a:lnTo>
                  <a:lnTo>
                    <a:pt x="15" y="107"/>
                  </a:lnTo>
                  <a:lnTo>
                    <a:pt x="7" y="107"/>
                  </a:lnTo>
                  <a:lnTo>
                    <a:pt x="0" y="112"/>
                  </a:lnTo>
                  <a:lnTo>
                    <a:pt x="3" y="117"/>
                  </a:lnTo>
                  <a:lnTo>
                    <a:pt x="10" y="119"/>
                  </a:lnTo>
                  <a:lnTo>
                    <a:pt x="19" y="122"/>
                  </a:lnTo>
                  <a:lnTo>
                    <a:pt x="19" y="129"/>
                  </a:lnTo>
                  <a:lnTo>
                    <a:pt x="19" y="138"/>
                  </a:lnTo>
                  <a:lnTo>
                    <a:pt x="22" y="143"/>
                  </a:lnTo>
                  <a:lnTo>
                    <a:pt x="29" y="143"/>
                  </a:lnTo>
                  <a:lnTo>
                    <a:pt x="34" y="143"/>
                  </a:lnTo>
                  <a:lnTo>
                    <a:pt x="34" y="136"/>
                  </a:lnTo>
                  <a:lnTo>
                    <a:pt x="34" y="126"/>
                  </a:lnTo>
                  <a:lnTo>
                    <a:pt x="31" y="119"/>
                  </a:lnTo>
                  <a:lnTo>
                    <a:pt x="26" y="110"/>
                  </a:lnTo>
                  <a:lnTo>
                    <a:pt x="26" y="102"/>
                  </a:lnTo>
                  <a:lnTo>
                    <a:pt x="34" y="95"/>
                  </a:lnTo>
                  <a:lnTo>
                    <a:pt x="43" y="95"/>
                  </a:lnTo>
                  <a:lnTo>
                    <a:pt x="53" y="95"/>
                  </a:lnTo>
                  <a:lnTo>
                    <a:pt x="60" y="98"/>
                  </a:lnTo>
                  <a:lnTo>
                    <a:pt x="60" y="105"/>
                  </a:lnTo>
                  <a:lnTo>
                    <a:pt x="62" y="110"/>
                  </a:lnTo>
                  <a:lnTo>
                    <a:pt x="67" y="112"/>
                  </a:lnTo>
                  <a:lnTo>
                    <a:pt x="67" y="105"/>
                  </a:lnTo>
                  <a:lnTo>
                    <a:pt x="69" y="98"/>
                  </a:lnTo>
                  <a:lnTo>
                    <a:pt x="72" y="93"/>
                  </a:lnTo>
                  <a:lnTo>
                    <a:pt x="74" y="88"/>
                  </a:lnTo>
                  <a:lnTo>
                    <a:pt x="83" y="86"/>
                  </a:lnTo>
                  <a:lnTo>
                    <a:pt x="91" y="83"/>
                  </a:lnTo>
                  <a:lnTo>
                    <a:pt x="102" y="86"/>
                  </a:lnTo>
                  <a:lnTo>
                    <a:pt x="110" y="83"/>
                  </a:lnTo>
                  <a:lnTo>
                    <a:pt x="110" y="74"/>
                  </a:lnTo>
                  <a:lnTo>
                    <a:pt x="102" y="69"/>
                  </a:lnTo>
                  <a:lnTo>
                    <a:pt x="100" y="62"/>
                  </a:lnTo>
                  <a:lnTo>
                    <a:pt x="98" y="55"/>
                  </a:lnTo>
                  <a:lnTo>
                    <a:pt x="100" y="45"/>
                  </a:lnTo>
                  <a:lnTo>
                    <a:pt x="102" y="29"/>
                  </a:lnTo>
                  <a:lnTo>
                    <a:pt x="98" y="22"/>
                  </a:lnTo>
                  <a:lnTo>
                    <a:pt x="93" y="10"/>
                  </a:lnTo>
                  <a:lnTo>
                    <a:pt x="88" y="3"/>
                  </a:lnTo>
                  <a:lnTo>
                    <a:pt x="8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175;p275">
              <a:extLst>
                <a:ext uri="{FF2B5EF4-FFF2-40B4-BE49-F238E27FC236}">
                  <a16:creationId xmlns:a16="http://schemas.microsoft.com/office/drawing/2014/main" id="{3AE8A99A-3AC6-6514-997B-C023BDB6D229}"/>
                </a:ext>
              </a:extLst>
            </p:cNvPr>
            <p:cNvSpPr/>
            <p:nvPr/>
          </p:nvSpPr>
          <p:spPr>
            <a:xfrm>
              <a:off x="9036479" y="3218537"/>
              <a:ext cx="40192" cy="44920"/>
            </a:xfrm>
            <a:custGeom>
              <a:avLst/>
              <a:gdLst/>
              <a:ahLst/>
              <a:cxnLst/>
              <a:rect l="l" t="t" r="r" b="b"/>
              <a:pathLst>
                <a:path w="17" h="19" extrusionOk="0">
                  <a:moveTo>
                    <a:pt x="12" y="0"/>
                  </a:moveTo>
                  <a:lnTo>
                    <a:pt x="5" y="2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9" y="19"/>
                  </a:lnTo>
                  <a:lnTo>
                    <a:pt x="14" y="17"/>
                  </a:lnTo>
                  <a:lnTo>
                    <a:pt x="17" y="10"/>
                  </a:lnTo>
                  <a:lnTo>
                    <a:pt x="17" y="5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20176;p275">
              <a:extLst>
                <a:ext uri="{FF2B5EF4-FFF2-40B4-BE49-F238E27FC236}">
                  <a16:creationId xmlns:a16="http://schemas.microsoft.com/office/drawing/2014/main" id="{FEF57E58-F8C7-46D8-CAE4-D54E3B8FB155}"/>
                </a:ext>
              </a:extLst>
            </p:cNvPr>
            <p:cNvSpPr/>
            <p:nvPr/>
          </p:nvSpPr>
          <p:spPr>
            <a:xfrm>
              <a:off x="9036479" y="3218537"/>
              <a:ext cx="40192" cy="44920"/>
            </a:xfrm>
            <a:custGeom>
              <a:avLst/>
              <a:gdLst/>
              <a:ahLst/>
              <a:cxnLst/>
              <a:rect l="l" t="t" r="r" b="b"/>
              <a:pathLst>
                <a:path w="17" h="19" extrusionOk="0">
                  <a:moveTo>
                    <a:pt x="12" y="0"/>
                  </a:moveTo>
                  <a:lnTo>
                    <a:pt x="5" y="2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9" y="19"/>
                  </a:lnTo>
                  <a:lnTo>
                    <a:pt x="14" y="17"/>
                  </a:lnTo>
                  <a:lnTo>
                    <a:pt x="17" y="10"/>
                  </a:lnTo>
                  <a:lnTo>
                    <a:pt x="17" y="5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20177;p275">
              <a:extLst>
                <a:ext uri="{FF2B5EF4-FFF2-40B4-BE49-F238E27FC236}">
                  <a16:creationId xmlns:a16="http://schemas.microsoft.com/office/drawing/2014/main" id="{9B350121-7E3A-82FA-B225-1D7A7CB25468}"/>
                </a:ext>
              </a:extLst>
            </p:cNvPr>
            <p:cNvSpPr/>
            <p:nvPr/>
          </p:nvSpPr>
          <p:spPr>
            <a:xfrm>
              <a:off x="5582354" y="2381605"/>
              <a:ext cx="179681" cy="269521"/>
            </a:xfrm>
            <a:custGeom>
              <a:avLst/>
              <a:gdLst/>
              <a:ahLst/>
              <a:cxnLst/>
              <a:rect l="l" t="t" r="r" b="b"/>
              <a:pathLst>
                <a:path w="76" h="114" extrusionOk="0">
                  <a:moveTo>
                    <a:pt x="29" y="0"/>
                  </a:moveTo>
                  <a:lnTo>
                    <a:pt x="19" y="0"/>
                  </a:lnTo>
                  <a:lnTo>
                    <a:pt x="12" y="2"/>
                  </a:lnTo>
                  <a:lnTo>
                    <a:pt x="10" y="9"/>
                  </a:lnTo>
                  <a:lnTo>
                    <a:pt x="10" y="14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5" y="28"/>
                  </a:lnTo>
                  <a:lnTo>
                    <a:pt x="2" y="40"/>
                  </a:lnTo>
                  <a:lnTo>
                    <a:pt x="5" y="42"/>
                  </a:lnTo>
                  <a:lnTo>
                    <a:pt x="12" y="42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9"/>
                  </a:lnTo>
                  <a:lnTo>
                    <a:pt x="10" y="54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4" y="59"/>
                  </a:lnTo>
                  <a:lnTo>
                    <a:pt x="19" y="61"/>
                  </a:lnTo>
                  <a:lnTo>
                    <a:pt x="21" y="64"/>
                  </a:lnTo>
                  <a:lnTo>
                    <a:pt x="19" y="66"/>
                  </a:lnTo>
                  <a:lnTo>
                    <a:pt x="14" y="69"/>
                  </a:lnTo>
                  <a:lnTo>
                    <a:pt x="14" y="71"/>
                  </a:lnTo>
                  <a:lnTo>
                    <a:pt x="14" y="76"/>
                  </a:lnTo>
                  <a:lnTo>
                    <a:pt x="10" y="78"/>
                  </a:lnTo>
                  <a:lnTo>
                    <a:pt x="7" y="80"/>
                  </a:lnTo>
                  <a:lnTo>
                    <a:pt x="5" y="85"/>
                  </a:lnTo>
                  <a:lnTo>
                    <a:pt x="7" y="88"/>
                  </a:lnTo>
                  <a:lnTo>
                    <a:pt x="12" y="90"/>
                  </a:lnTo>
                  <a:lnTo>
                    <a:pt x="19" y="90"/>
                  </a:lnTo>
                  <a:lnTo>
                    <a:pt x="26" y="90"/>
                  </a:lnTo>
                  <a:lnTo>
                    <a:pt x="29" y="92"/>
                  </a:lnTo>
                  <a:lnTo>
                    <a:pt x="24" y="95"/>
                  </a:lnTo>
                  <a:lnTo>
                    <a:pt x="14" y="95"/>
                  </a:lnTo>
                  <a:lnTo>
                    <a:pt x="10" y="97"/>
                  </a:lnTo>
                  <a:lnTo>
                    <a:pt x="5" y="99"/>
                  </a:lnTo>
                  <a:lnTo>
                    <a:pt x="0" y="104"/>
                  </a:lnTo>
                  <a:lnTo>
                    <a:pt x="0" y="111"/>
                  </a:lnTo>
                  <a:lnTo>
                    <a:pt x="2" y="114"/>
                  </a:lnTo>
                  <a:lnTo>
                    <a:pt x="7" y="114"/>
                  </a:lnTo>
                  <a:lnTo>
                    <a:pt x="10" y="111"/>
                  </a:lnTo>
                  <a:lnTo>
                    <a:pt x="14" y="109"/>
                  </a:lnTo>
                  <a:lnTo>
                    <a:pt x="26" y="109"/>
                  </a:lnTo>
                  <a:lnTo>
                    <a:pt x="33" y="107"/>
                  </a:lnTo>
                  <a:lnTo>
                    <a:pt x="38" y="104"/>
                  </a:lnTo>
                  <a:lnTo>
                    <a:pt x="45" y="102"/>
                  </a:lnTo>
                  <a:lnTo>
                    <a:pt x="55" y="102"/>
                  </a:lnTo>
                  <a:lnTo>
                    <a:pt x="57" y="107"/>
                  </a:lnTo>
                  <a:lnTo>
                    <a:pt x="62" y="107"/>
                  </a:lnTo>
                  <a:lnTo>
                    <a:pt x="69" y="99"/>
                  </a:lnTo>
                  <a:lnTo>
                    <a:pt x="74" y="92"/>
                  </a:lnTo>
                  <a:lnTo>
                    <a:pt x="76" y="88"/>
                  </a:lnTo>
                  <a:lnTo>
                    <a:pt x="74" y="83"/>
                  </a:lnTo>
                  <a:lnTo>
                    <a:pt x="69" y="78"/>
                  </a:lnTo>
                  <a:lnTo>
                    <a:pt x="62" y="76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2" y="69"/>
                  </a:lnTo>
                  <a:lnTo>
                    <a:pt x="64" y="64"/>
                  </a:lnTo>
                  <a:lnTo>
                    <a:pt x="62" y="59"/>
                  </a:lnTo>
                  <a:lnTo>
                    <a:pt x="55" y="52"/>
                  </a:lnTo>
                  <a:lnTo>
                    <a:pt x="52" y="47"/>
                  </a:lnTo>
                  <a:lnTo>
                    <a:pt x="45" y="45"/>
                  </a:lnTo>
                  <a:lnTo>
                    <a:pt x="40" y="45"/>
                  </a:lnTo>
                  <a:lnTo>
                    <a:pt x="36" y="45"/>
                  </a:lnTo>
                  <a:lnTo>
                    <a:pt x="33" y="38"/>
                  </a:lnTo>
                  <a:lnTo>
                    <a:pt x="36" y="35"/>
                  </a:lnTo>
                  <a:lnTo>
                    <a:pt x="38" y="30"/>
                  </a:lnTo>
                  <a:lnTo>
                    <a:pt x="40" y="26"/>
                  </a:lnTo>
                  <a:lnTo>
                    <a:pt x="45" y="23"/>
                  </a:lnTo>
                  <a:lnTo>
                    <a:pt x="48" y="21"/>
                  </a:lnTo>
                  <a:lnTo>
                    <a:pt x="48" y="16"/>
                  </a:lnTo>
                  <a:lnTo>
                    <a:pt x="45" y="14"/>
                  </a:lnTo>
                  <a:lnTo>
                    <a:pt x="40" y="11"/>
                  </a:lnTo>
                  <a:lnTo>
                    <a:pt x="36" y="11"/>
                  </a:lnTo>
                  <a:lnTo>
                    <a:pt x="33" y="14"/>
                  </a:lnTo>
                  <a:lnTo>
                    <a:pt x="31" y="16"/>
                  </a:lnTo>
                  <a:lnTo>
                    <a:pt x="29" y="14"/>
                  </a:lnTo>
                  <a:lnTo>
                    <a:pt x="31" y="9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31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20178;p275">
              <a:extLst>
                <a:ext uri="{FF2B5EF4-FFF2-40B4-BE49-F238E27FC236}">
                  <a16:creationId xmlns:a16="http://schemas.microsoft.com/office/drawing/2014/main" id="{8E5C7422-3EDB-B428-A4DF-B452012BB38B}"/>
                </a:ext>
              </a:extLst>
            </p:cNvPr>
            <p:cNvSpPr/>
            <p:nvPr/>
          </p:nvSpPr>
          <p:spPr>
            <a:xfrm>
              <a:off x="5582354" y="2381605"/>
              <a:ext cx="179681" cy="269521"/>
            </a:xfrm>
            <a:custGeom>
              <a:avLst/>
              <a:gdLst/>
              <a:ahLst/>
              <a:cxnLst/>
              <a:rect l="l" t="t" r="r" b="b"/>
              <a:pathLst>
                <a:path w="76" h="114" extrusionOk="0">
                  <a:moveTo>
                    <a:pt x="29" y="0"/>
                  </a:moveTo>
                  <a:lnTo>
                    <a:pt x="19" y="0"/>
                  </a:lnTo>
                  <a:lnTo>
                    <a:pt x="12" y="2"/>
                  </a:lnTo>
                  <a:lnTo>
                    <a:pt x="10" y="9"/>
                  </a:lnTo>
                  <a:lnTo>
                    <a:pt x="10" y="14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5" y="28"/>
                  </a:lnTo>
                  <a:lnTo>
                    <a:pt x="2" y="40"/>
                  </a:lnTo>
                  <a:lnTo>
                    <a:pt x="5" y="42"/>
                  </a:lnTo>
                  <a:lnTo>
                    <a:pt x="12" y="42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9"/>
                  </a:lnTo>
                  <a:lnTo>
                    <a:pt x="10" y="54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4" y="59"/>
                  </a:lnTo>
                  <a:lnTo>
                    <a:pt x="19" y="61"/>
                  </a:lnTo>
                  <a:lnTo>
                    <a:pt x="21" y="64"/>
                  </a:lnTo>
                  <a:lnTo>
                    <a:pt x="19" y="66"/>
                  </a:lnTo>
                  <a:lnTo>
                    <a:pt x="14" y="69"/>
                  </a:lnTo>
                  <a:lnTo>
                    <a:pt x="14" y="71"/>
                  </a:lnTo>
                  <a:lnTo>
                    <a:pt x="14" y="76"/>
                  </a:lnTo>
                  <a:lnTo>
                    <a:pt x="10" y="78"/>
                  </a:lnTo>
                  <a:lnTo>
                    <a:pt x="7" y="80"/>
                  </a:lnTo>
                  <a:lnTo>
                    <a:pt x="5" y="85"/>
                  </a:lnTo>
                  <a:lnTo>
                    <a:pt x="7" y="88"/>
                  </a:lnTo>
                  <a:lnTo>
                    <a:pt x="12" y="90"/>
                  </a:lnTo>
                  <a:lnTo>
                    <a:pt x="19" y="90"/>
                  </a:lnTo>
                  <a:lnTo>
                    <a:pt x="26" y="90"/>
                  </a:lnTo>
                  <a:lnTo>
                    <a:pt x="29" y="92"/>
                  </a:lnTo>
                  <a:lnTo>
                    <a:pt x="24" y="95"/>
                  </a:lnTo>
                  <a:lnTo>
                    <a:pt x="14" y="95"/>
                  </a:lnTo>
                  <a:lnTo>
                    <a:pt x="10" y="97"/>
                  </a:lnTo>
                  <a:lnTo>
                    <a:pt x="5" y="99"/>
                  </a:lnTo>
                  <a:lnTo>
                    <a:pt x="0" y="104"/>
                  </a:lnTo>
                  <a:lnTo>
                    <a:pt x="0" y="111"/>
                  </a:lnTo>
                  <a:lnTo>
                    <a:pt x="2" y="114"/>
                  </a:lnTo>
                  <a:lnTo>
                    <a:pt x="7" y="114"/>
                  </a:lnTo>
                  <a:lnTo>
                    <a:pt x="10" y="111"/>
                  </a:lnTo>
                  <a:lnTo>
                    <a:pt x="14" y="109"/>
                  </a:lnTo>
                  <a:lnTo>
                    <a:pt x="26" y="109"/>
                  </a:lnTo>
                  <a:lnTo>
                    <a:pt x="33" y="107"/>
                  </a:lnTo>
                  <a:lnTo>
                    <a:pt x="38" y="104"/>
                  </a:lnTo>
                  <a:lnTo>
                    <a:pt x="45" y="102"/>
                  </a:lnTo>
                  <a:lnTo>
                    <a:pt x="55" y="102"/>
                  </a:lnTo>
                  <a:lnTo>
                    <a:pt x="57" y="107"/>
                  </a:lnTo>
                  <a:lnTo>
                    <a:pt x="62" y="107"/>
                  </a:lnTo>
                  <a:lnTo>
                    <a:pt x="69" y="99"/>
                  </a:lnTo>
                  <a:lnTo>
                    <a:pt x="74" y="92"/>
                  </a:lnTo>
                  <a:lnTo>
                    <a:pt x="76" y="88"/>
                  </a:lnTo>
                  <a:lnTo>
                    <a:pt x="74" y="83"/>
                  </a:lnTo>
                  <a:lnTo>
                    <a:pt x="69" y="78"/>
                  </a:lnTo>
                  <a:lnTo>
                    <a:pt x="62" y="76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2" y="69"/>
                  </a:lnTo>
                  <a:lnTo>
                    <a:pt x="64" y="64"/>
                  </a:lnTo>
                  <a:lnTo>
                    <a:pt x="62" y="59"/>
                  </a:lnTo>
                  <a:lnTo>
                    <a:pt x="55" y="52"/>
                  </a:lnTo>
                  <a:lnTo>
                    <a:pt x="52" y="47"/>
                  </a:lnTo>
                  <a:lnTo>
                    <a:pt x="45" y="45"/>
                  </a:lnTo>
                  <a:lnTo>
                    <a:pt x="40" y="45"/>
                  </a:lnTo>
                  <a:lnTo>
                    <a:pt x="36" y="45"/>
                  </a:lnTo>
                  <a:lnTo>
                    <a:pt x="33" y="38"/>
                  </a:lnTo>
                  <a:lnTo>
                    <a:pt x="36" y="35"/>
                  </a:lnTo>
                  <a:lnTo>
                    <a:pt x="38" y="30"/>
                  </a:lnTo>
                  <a:lnTo>
                    <a:pt x="40" y="26"/>
                  </a:lnTo>
                  <a:lnTo>
                    <a:pt x="45" y="23"/>
                  </a:lnTo>
                  <a:lnTo>
                    <a:pt x="48" y="21"/>
                  </a:lnTo>
                  <a:lnTo>
                    <a:pt x="48" y="16"/>
                  </a:lnTo>
                  <a:lnTo>
                    <a:pt x="45" y="14"/>
                  </a:lnTo>
                  <a:lnTo>
                    <a:pt x="40" y="11"/>
                  </a:lnTo>
                  <a:lnTo>
                    <a:pt x="36" y="11"/>
                  </a:lnTo>
                  <a:lnTo>
                    <a:pt x="33" y="14"/>
                  </a:lnTo>
                  <a:lnTo>
                    <a:pt x="31" y="16"/>
                  </a:lnTo>
                  <a:lnTo>
                    <a:pt x="29" y="14"/>
                  </a:lnTo>
                  <a:lnTo>
                    <a:pt x="31" y="9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31" y="0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20179;p275">
              <a:extLst>
                <a:ext uri="{FF2B5EF4-FFF2-40B4-BE49-F238E27FC236}">
                  <a16:creationId xmlns:a16="http://schemas.microsoft.com/office/drawing/2014/main" id="{060240C6-4F06-32FD-122D-96F8C78F172B}"/>
                </a:ext>
              </a:extLst>
            </p:cNvPr>
            <p:cNvSpPr/>
            <p:nvPr/>
          </p:nvSpPr>
          <p:spPr>
            <a:xfrm>
              <a:off x="5459415" y="2480902"/>
              <a:ext cx="118211" cy="141853"/>
            </a:xfrm>
            <a:custGeom>
              <a:avLst/>
              <a:gdLst/>
              <a:ahLst/>
              <a:cxnLst/>
              <a:rect l="l" t="t" r="r" b="b"/>
              <a:pathLst>
                <a:path w="50" h="60" extrusionOk="0">
                  <a:moveTo>
                    <a:pt x="33" y="0"/>
                  </a:moveTo>
                  <a:lnTo>
                    <a:pt x="28" y="0"/>
                  </a:lnTo>
                  <a:lnTo>
                    <a:pt x="26" y="5"/>
                  </a:lnTo>
                  <a:lnTo>
                    <a:pt x="24" y="7"/>
                  </a:lnTo>
                  <a:lnTo>
                    <a:pt x="21" y="10"/>
                  </a:lnTo>
                  <a:lnTo>
                    <a:pt x="14" y="10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7" y="31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9" y="41"/>
                  </a:lnTo>
                  <a:lnTo>
                    <a:pt x="2" y="41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5" y="55"/>
                  </a:lnTo>
                  <a:lnTo>
                    <a:pt x="7" y="60"/>
                  </a:lnTo>
                  <a:lnTo>
                    <a:pt x="14" y="60"/>
                  </a:lnTo>
                  <a:lnTo>
                    <a:pt x="21" y="57"/>
                  </a:lnTo>
                  <a:lnTo>
                    <a:pt x="26" y="55"/>
                  </a:lnTo>
                  <a:lnTo>
                    <a:pt x="33" y="50"/>
                  </a:lnTo>
                  <a:lnTo>
                    <a:pt x="38" y="50"/>
                  </a:lnTo>
                  <a:lnTo>
                    <a:pt x="43" y="50"/>
                  </a:lnTo>
                  <a:lnTo>
                    <a:pt x="45" y="43"/>
                  </a:lnTo>
                  <a:lnTo>
                    <a:pt x="45" y="36"/>
                  </a:lnTo>
                  <a:lnTo>
                    <a:pt x="43" y="29"/>
                  </a:lnTo>
                  <a:lnTo>
                    <a:pt x="45" y="24"/>
                  </a:lnTo>
                  <a:lnTo>
                    <a:pt x="47" y="19"/>
                  </a:lnTo>
                  <a:lnTo>
                    <a:pt x="50" y="12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38" y="5"/>
                  </a:lnTo>
                  <a:lnTo>
                    <a:pt x="35" y="3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20180;p275">
              <a:extLst>
                <a:ext uri="{FF2B5EF4-FFF2-40B4-BE49-F238E27FC236}">
                  <a16:creationId xmlns:a16="http://schemas.microsoft.com/office/drawing/2014/main" id="{6F52DB57-123E-FCA3-F583-7EE8399D3645}"/>
                </a:ext>
              </a:extLst>
            </p:cNvPr>
            <p:cNvSpPr/>
            <p:nvPr/>
          </p:nvSpPr>
          <p:spPr>
            <a:xfrm>
              <a:off x="5459415" y="2480902"/>
              <a:ext cx="118211" cy="141853"/>
            </a:xfrm>
            <a:custGeom>
              <a:avLst/>
              <a:gdLst/>
              <a:ahLst/>
              <a:cxnLst/>
              <a:rect l="l" t="t" r="r" b="b"/>
              <a:pathLst>
                <a:path w="50" h="60" extrusionOk="0">
                  <a:moveTo>
                    <a:pt x="33" y="0"/>
                  </a:moveTo>
                  <a:lnTo>
                    <a:pt x="28" y="0"/>
                  </a:lnTo>
                  <a:lnTo>
                    <a:pt x="26" y="5"/>
                  </a:lnTo>
                  <a:lnTo>
                    <a:pt x="24" y="7"/>
                  </a:lnTo>
                  <a:lnTo>
                    <a:pt x="21" y="10"/>
                  </a:lnTo>
                  <a:lnTo>
                    <a:pt x="14" y="10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7" y="31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9" y="41"/>
                  </a:lnTo>
                  <a:lnTo>
                    <a:pt x="2" y="41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5" y="55"/>
                  </a:lnTo>
                  <a:lnTo>
                    <a:pt x="7" y="60"/>
                  </a:lnTo>
                  <a:lnTo>
                    <a:pt x="14" y="60"/>
                  </a:lnTo>
                  <a:lnTo>
                    <a:pt x="21" y="57"/>
                  </a:lnTo>
                  <a:lnTo>
                    <a:pt x="26" y="55"/>
                  </a:lnTo>
                  <a:lnTo>
                    <a:pt x="33" y="50"/>
                  </a:lnTo>
                  <a:lnTo>
                    <a:pt x="38" y="50"/>
                  </a:lnTo>
                  <a:lnTo>
                    <a:pt x="43" y="50"/>
                  </a:lnTo>
                  <a:lnTo>
                    <a:pt x="45" y="43"/>
                  </a:lnTo>
                  <a:lnTo>
                    <a:pt x="45" y="36"/>
                  </a:lnTo>
                  <a:lnTo>
                    <a:pt x="43" y="29"/>
                  </a:lnTo>
                  <a:lnTo>
                    <a:pt x="45" y="24"/>
                  </a:lnTo>
                  <a:lnTo>
                    <a:pt x="47" y="19"/>
                  </a:lnTo>
                  <a:lnTo>
                    <a:pt x="50" y="12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38" y="5"/>
                  </a:lnTo>
                  <a:lnTo>
                    <a:pt x="35" y="3"/>
                  </a:lnTo>
                  <a:lnTo>
                    <a:pt x="3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20181;p275">
              <a:extLst>
                <a:ext uri="{FF2B5EF4-FFF2-40B4-BE49-F238E27FC236}">
                  <a16:creationId xmlns:a16="http://schemas.microsoft.com/office/drawing/2014/main" id="{A74EF0B5-764C-59BD-4F6B-77EA5C1FC4EA}"/>
                </a:ext>
              </a:extLst>
            </p:cNvPr>
            <p:cNvSpPr/>
            <p:nvPr/>
          </p:nvSpPr>
          <p:spPr>
            <a:xfrm>
              <a:off x="5312833" y="2145183"/>
              <a:ext cx="236422" cy="99297"/>
            </a:xfrm>
            <a:custGeom>
              <a:avLst/>
              <a:gdLst/>
              <a:ahLst/>
              <a:cxnLst/>
              <a:rect l="l" t="t" r="r" b="b"/>
              <a:pathLst>
                <a:path w="100" h="42" extrusionOk="0">
                  <a:moveTo>
                    <a:pt x="21" y="0"/>
                  </a:moveTo>
                  <a:lnTo>
                    <a:pt x="12" y="2"/>
                  </a:lnTo>
                  <a:lnTo>
                    <a:pt x="5" y="2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2" y="21"/>
                  </a:lnTo>
                  <a:lnTo>
                    <a:pt x="2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31"/>
                  </a:lnTo>
                  <a:lnTo>
                    <a:pt x="12" y="33"/>
                  </a:lnTo>
                  <a:lnTo>
                    <a:pt x="14" y="38"/>
                  </a:lnTo>
                  <a:lnTo>
                    <a:pt x="21" y="38"/>
                  </a:lnTo>
                  <a:lnTo>
                    <a:pt x="29" y="38"/>
                  </a:lnTo>
                  <a:lnTo>
                    <a:pt x="36" y="40"/>
                  </a:lnTo>
                  <a:lnTo>
                    <a:pt x="45" y="42"/>
                  </a:lnTo>
                  <a:lnTo>
                    <a:pt x="55" y="35"/>
                  </a:lnTo>
                  <a:lnTo>
                    <a:pt x="64" y="31"/>
                  </a:lnTo>
                  <a:lnTo>
                    <a:pt x="74" y="33"/>
                  </a:lnTo>
                  <a:lnTo>
                    <a:pt x="81" y="28"/>
                  </a:lnTo>
                  <a:lnTo>
                    <a:pt x="93" y="23"/>
                  </a:lnTo>
                  <a:lnTo>
                    <a:pt x="100" y="21"/>
                  </a:lnTo>
                  <a:lnTo>
                    <a:pt x="97" y="14"/>
                  </a:lnTo>
                  <a:lnTo>
                    <a:pt x="93" y="11"/>
                  </a:lnTo>
                  <a:lnTo>
                    <a:pt x="90" y="4"/>
                  </a:lnTo>
                  <a:lnTo>
                    <a:pt x="81" y="2"/>
                  </a:lnTo>
                  <a:lnTo>
                    <a:pt x="76" y="4"/>
                  </a:lnTo>
                  <a:lnTo>
                    <a:pt x="71" y="2"/>
                  </a:lnTo>
                  <a:lnTo>
                    <a:pt x="62" y="2"/>
                  </a:lnTo>
                  <a:lnTo>
                    <a:pt x="45" y="7"/>
                  </a:lnTo>
                  <a:lnTo>
                    <a:pt x="36" y="7"/>
                  </a:lnTo>
                  <a:lnTo>
                    <a:pt x="31" y="11"/>
                  </a:lnTo>
                  <a:lnTo>
                    <a:pt x="26" y="14"/>
                  </a:lnTo>
                  <a:lnTo>
                    <a:pt x="24" y="7"/>
                  </a:lnTo>
                  <a:lnTo>
                    <a:pt x="24" y="2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182;p275">
              <a:extLst>
                <a:ext uri="{FF2B5EF4-FFF2-40B4-BE49-F238E27FC236}">
                  <a16:creationId xmlns:a16="http://schemas.microsoft.com/office/drawing/2014/main" id="{49BB22FE-878B-F7DB-C165-59B2F6E6C5BC}"/>
                </a:ext>
              </a:extLst>
            </p:cNvPr>
            <p:cNvSpPr/>
            <p:nvPr/>
          </p:nvSpPr>
          <p:spPr>
            <a:xfrm>
              <a:off x="5312833" y="2145183"/>
              <a:ext cx="236422" cy="99297"/>
            </a:xfrm>
            <a:custGeom>
              <a:avLst/>
              <a:gdLst/>
              <a:ahLst/>
              <a:cxnLst/>
              <a:rect l="l" t="t" r="r" b="b"/>
              <a:pathLst>
                <a:path w="100" h="42" extrusionOk="0">
                  <a:moveTo>
                    <a:pt x="21" y="0"/>
                  </a:moveTo>
                  <a:lnTo>
                    <a:pt x="12" y="2"/>
                  </a:lnTo>
                  <a:lnTo>
                    <a:pt x="5" y="2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2" y="21"/>
                  </a:lnTo>
                  <a:lnTo>
                    <a:pt x="2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31"/>
                  </a:lnTo>
                  <a:lnTo>
                    <a:pt x="12" y="33"/>
                  </a:lnTo>
                  <a:lnTo>
                    <a:pt x="14" y="38"/>
                  </a:lnTo>
                  <a:lnTo>
                    <a:pt x="21" y="38"/>
                  </a:lnTo>
                  <a:lnTo>
                    <a:pt x="29" y="38"/>
                  </a:lnTo>
                  <a:lnTo>
                    <a:pt x="36" y="40"/>
                  </a:lnTo>
                  <a:lnTo>
                    <a:pt x="45" y="42"/>
                  </a:lnTo>
                  <a:lnTo>
                    <a:pt x="55" y="35"/>
                  </a:lnTo>
                  <a:lnTo>
                    <a:pt x="64" y="31"/>
                  </a:lnTo>
                  <a:lnTo>
                    <a:pt x="74" y="33"/>
                  </a:lnTo>
                  <a:lnTo>
                    <a:pt x="81" y="28"/>
                  </a:lnTo>
                  <a:lnTo>
                    <a:pt x="93" y="23"/>
                  </a:lnTo>
                  <a:lnTo>
                    <a:pt x="100" y="21"/>
                  </a:lnTo>
                  <a:lnTo>
                    <a:pt x="97" y="14"/>
                  </a:lnTo>
                  <a:lnTo>
                    <a:pt x="93" y="11"/>
                  </a:lnTo>
                  <a:lnTo>
                    <a:pt x="90" y="4"/>
                  </a:lnTo>
                  <a:lnTo>
                    <a:pt x="81" y="2"/>
                  </a:lnTo>
                  <a:lnTo>
                    <a:pt x="76" y="4"/>
                  </a:lnTo>
                  <a:lnTo>
                    <a:pt x="71" y="2"/>
                  </a:lnTo>
                  <a:lnTo>
                    <a:pt x="62" y="2"/>
                  </a:lnTo>
                  <a:lnTo>
                    <a:pt x="45" y="7"/>
                  </a:lnTo>
                  <a:lnTo>
                    <a:pt x="36" y="7"/>
                  </a:lnTo>
                  <a:lnTo>
                    <a:pt x="31" y="11"/>
                  </a:lnTo>
                  <a:lnTo>
                    <a:pt x="26" y="14"/>
                  </a:lnTo>
                  <a:lnTo>
                    <a:pt x="24" y="7"/>
                  </a:lnTo>
                  <a:lnTo>
                    <a:pt x="24" y="2"/>
                  </a:lnTo>
                  <a:lnTo>
                    <a:pt x="21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0183;p275">
              <a:extLst>
                <a:ext uri="{FF2B5EF4-FFF2-40B4-BE49-F238E27FC236}">
                  <a16:creationId xmlns:a16="http://schemas.microsoft.com/office/drawing/2014/main" id="{D11BA23E-7E41-6BF5-F295-AE6E63C4A7CA}"/>
                </a:ext>
              </a:extLst>
            </p:cNvPr>
            <p:cNvSpPr/>
            <p:nvPr/>
          </p:nvSpPr>
          <p:spPr>
            <a:xfrm>
              <a:off x="6880311" y="4563776"/>
              <a:ext cx="200959" cy="399553"/>
            </a:xfrm>
            <a:custGeom>
              <a:avLst/>
              <a:gdLst/>
              <a:ahLst/>
              <a:cxnLst/>
              <a:rect l="l" t="t" r="r" b="b"/>
              <a:pathLst>
                <a:path w="85" h="169" extrusionOk="0">
                  <a:moveTo>
                    <a:pt x="73" y="0"/>
                  </a:moveTo>
                  <a:lnTo>
                    <a:pt x="66" y="7"/>
                  </a:lnTo>
                  <a:lnTo>
                    <a:pt x="62" y="19"/>
                  </a:lnTo>
                  <a:lnTo>
                    <a:pt x="57" y="28"/>
                  </a:lnTo>
                  <a:lnTo>
                    <a:pt x="45" y="36"/>
                  </a:lnTo>
                  <a:lnTo>
                    <a:pt x="35" y="38"/>
                  </a:lnTo>
                  <a:lnTo>
                    <a:pt x="24" y="43"/>
                  </a:lnTo>
                  <a:lnTo>
                    <a:pt x="16" y="57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7" y="112"/>
                  </a:lnTo>
                  <a:lnTo>
                    <a:pt x="0" y="124"/>
                  </a:lnTo>
                  <a:lnTo>
                    <a:pt x="2" y="136"/>
                  </a:lnTo>
                  <a:lnTo>
                    <a:pt x="5" y="155"/>
                  </a:lnTo>
                  <a:lnTo>
                    <a:pt x="9" y="162"/>
                  </a:lnTo>
                  <a:lnTo>
                    <a:pt x="19" y="166"/>
                  </a:lnTo>
                  <a:lnTo>
                    <a:pt x="28" y="169"/>
                  </a:lnTo>
                  <a:lnTo>
                    <a:pt x="38" y="169"/>
                  </a:lnTo>
                  <a:lnTo>
                    <a:pt x="45" y="157"/>
                  </a:lnTo>
                  <a:lnTo>
                    <a:pt x="47" y="145"/>
                  </a:lnTo>
                  <a:lnTo>
                    <a:pt x="57" y="131"/>
                  </a:lnTo>
                  <a:lnTo>
                    <a:pt x="59" y="114"/>
                  </a:lnTo>
                  <a:lnTo>
                    <a:pt x="62" y="105"/>
                  </a:lnTo>
                  <a:lnTo>
                    <a:pt x="69" y="93"/>
                  </a:lnTo>
                  <a:lnTo>
                    <a:pt x="71" y="78"/>
                  </a:lnTo>
                  <a:lnTo>
                    <a:pt x="69" y="62"/>
                  </a:lnTo>
                  <a:lnTo>
                    <a:pt x="71" y="52"/>
                  </a:lnTo>
                  <a:lnTo>
                    <a:pt x="76" y="47"/>
                  </a:lnTo>
                  <a:lnTo>
                    <a:pt x="81" y="50"/>
                  </a:lnTo>
                  <a:lnTo>
                    <a:pt x="85" y="47"/>
                  </a:lnTo>
                  <a:lnTo>
                    <a:pt x="85" y="38"/>
                  </a:lnTo>
                  <a:lnTo>
                    <a:pt x="85" y="26"/>
                  </a:lnTo>
                  <a:lnTo>
                    <a:pt x="83" y="17"/>
                  </a:lnTo>
                  <a:lnTo>
                    <a:pt x="83" y="12"/>
                  </a:lnTo>
                  <a:lnTo>
                    <a:pt x="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184;p275">
              <a:extLst>
                <a:ext uri="{FF2B5EF4-FFF2-40B4-BE49-F238E27FC236}">
                  <a16:creationId xmlns:a16="http://schemas.microsoft.com/office/drawing/2014/main" id="{1B006D1F-8204-B5DA-447B-4BB685414911}"/>
                </a:ext>
              </a:extLst>
            </p:cNvPr>
            <p:cNvSpPr/>
            <p:nvPr/>
          </p:nvSpPr>
          <p:spPr>
            <a:xfrm>
              <a:off x="6880311" y="4563776"/>
              <a:ext cx="200959" cy="399553"/>
            </a:xfrm>
            <a:custGeom>
              <a:avLst/>
              <a:gdLst/>
              <a:ahLst/>
              <a:cxnLst/>
              <a:rect l="l" t="t" r="r" b="b"/>
              <a:pathLst>
                <a:path w="85" h="169" extrusionOk="0">
                  <a:moveTo>
                    <a:pt x="73" y="0"/>
                  </a:moveTo>
                  <a:lnTo>
                    <a:pt x="66" y="7"/>
                  </a:lnTo>
                  <a:lnTo>
                    <a:pt x="62" y="19"/>
                  </a:lnTo>
                  <a:lnTo>
                    <a:pt x="57" y="28"/>
                  </a:lnTo>
                  <a:lnTo>
                    <a:pt x="45" y="36"/>
                  </a:lnTo>
                  <a:lnTo>
                    <a:pt x="35" y="38"/>
                  </a:lnTo>
                  <a:lnTo>
                    <a:pt x="24" y="43"/>
                  </a:lnTo>
                  <a:lnTo>
                    <a:pt x="16" y="57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7" y="112"/>
                  </a:lnTo>
                  <a:lnTo>
                    <a:pt x="0" y="124"/>
                  </a:lnTo>
                  <a:lnTo>
                    <a:pt x="2" y="136"/>
                  </a:lnTo>
                  <a:lnTo>
                    <a:pt x="5" y="155"/>
                  </a:lnTo>
                  <a:lnTo>
                    <a:pt x="9" y="162"/>
                  </a:lnTo>
                  <a:lnTo>
                    <a:pt x="19" y="166"/>
                  </a:lnTo>
                  <a:lnTo>
                    <a:pt x="28" y="169"/>
                  </a:lnTo>
                  <a:lnTo>
                    <a:pt x="38" y="169"/>
                  </a:lnTo>
                  <a:lnTo>
                    <a:pt x="45" y="157"/>
                  </a:lnTo>
                  <a:lnTo>
                    <a:pt x="47" y="145"/>
                  </a:lnTo>
                  <a:lnTo>
                    <a:pt x="57" y="131"/>
                  </a:lnTo>
                  <a:lnTo>
                    <a:pt x="59" y="114"/>
                  </a:lnTo>
                  <a:lnTo>
                    <a:pt x="62" y="105"/>
                  </a:lnTo>
                  <a:lnTo>
                    <a:pt x="69" y="93"/>
                  </a:lnTo>
                  <a:lnTo>
                    <a:pt x="71" y="78"/>
                  </a:lnTo>
                  <a:lnTo>
                    <a:pt x="69" y="62"/>
                  </a:lnTo>
                  <a:lnTo>
                    <a:pt x="71" y="52"/>
                  </a:lnTo>
                  <a:lnTo>
                    <a:pt x="76" y="47"/>
                  </a:lnTo>
                  <a:lnTo>
                    <a:pt x="81" y="50"/>
                  </a:lnTo>
                  <a:lnTo>
                    <a:pt x="85" y="47"/>
                  </a:lnTo>
                  <a:lnTo>
                    <a:pt x="85" y="38"/>
                  </a:lnTo>
                  <a:lnTo>
                    <a:pt x="85" y="26"/>
                  </a:lnTo>
                  <a:lnTo>
                    <a:pt x="83" y="17"/>
                  </a:lnTo>
                  <a:lnTo>
                    <a:pt x="83" y="12"/>
                  </a:lnTo>
                  <a:lnTo>
                    <a:pt x="7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185;p275">
              <a:extLst>
                <a:ext uri="{FF2B5EF4-FFF2-40B4-BE49-F238E27FC236}">
                  <a16:creationId xmlns:a16="http://schemas.microsoft.com/office/drawing/2014/main" id="{F778E0CB-2FCA-0FF4-0BC0-817656483EE7}"/>
                </a:ext>
              </a:extLst>
            </p:cNvPr>
            <p:cNvSpPr/>
            <p:nvPr/>
          </p:nvSpPr>
          <p:spPr>
            <a:xfrm>
              <a:off x="8261015" y="4062562"/>
              <a:ext cx="482301" cy="439744"/>
            </a:xfrm>
            <a:custGeom>
              <a:avLst/>
              <a:gdLst/>
              <a:ahLst/>
              <a:cxnLst/>
              <a:rect l="l" t="t" r="r" b="b"/>
              <a:pathLst>
                <a:path w="204" h="186" extrusionOk="0">
                  <a:moveTo>
                    <a:pt x="12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33"/>
                  </a:lnTo>
                  <a:lnTo>
                    <a:pt x="26" y="45"/>
                  </a:lnTo>
                  <a:lnTo>
                    <a:pt x="36" y="50"/>
                  </a:lnTo>
                  <a:lnTo>
                    <a:pt x="38" y="62"/>
                  </a:lnTo>
                  <a:lnTo>
                    <a:pt x="45" y="71"/>
                  </a:lnTo>
                  <a:lnTo>
                    <a:pt x="50" y="71"/>
                  </a:lnTo>
                  <a:lnTo>
                    <a:pt x="55" y="81"/>
                  </a:lnTo>
                  <a:lnTo>
                    <a:pt x="57" y="86"/>
                  </a:lnTo>
                  <a:lnTo>
                    <a:pt x="62" y="98"/>
                  </a:lnTo>
                  <a:lnTo>
                    <a:pt x="64" y="110"/>
                  </a:lnTo>
                  <a:lnTo>
                    <a:pt x="71" y="117"/>
                  </a:lnTo>
                  <a:lnTo>
                    <a:pt x="83" y="129"/>
                  </a:lnTo>
                  <a:lnTo>
                    <a:pt x="95" y="136"/>
                  </a:lnTo>
                  <a:lnTo>
                    <a:pt x="100" y="138"/>
                  </a:lnTo>
                  <a:lnTo>
                    <a:pt x="105" y="143"/>
                  </a:lnTo>
                  <a:lnTo>
                    <a:pt x="105" y="152"/>
                  </a:lnTo>
                  <a:lnTo>
                    <a:pt x="100" y="157"/>
                  </a:lnTo>
                  <a:lnTo>
                    <a:pt x="102" y="167"/>
                  </a:lnTo>
                  <a:lnTo>
                    <a:pt x="112" y="169"/>
                  </a:lnTo>
                  <a:lnTo>
                    <a:pt x="121" y="171"/>
                  </a:lnTo>
                  <a:lnTo>
                    <a:pt x="133" y="171"/>
                  </a:lnTo>
                  <a:lnTo>
                    <a:pt x="157" y="179"/>
                  </a:lnTo>
                  <a:lnTo>
                    <a:pt x="181" y="186"/>
                  </a:lnTo>
                  <a:lnTo>
                    <a:pt x="190" y="186"/>
                  </a:lnTo>
                  <a:lnTo>
                    <a:pt x="202" y="186"/>
                  </a:lnTo>
                  <a:lnTo>
                    <a:pt x="204" y="179"/>
                  </a:lnTo>
                  <a:lnTo>
                    <a:pt x="202" y="171"/>
                  </a:lnTo>
                  <a:lnTo>
                    <a:pt x="202" y="164"/>
                  </a:lnTo>
                  <a:lnTo>
                    <a:pt x="195" y="162"/>
                  </a:lnTo>
                  <a:lnTo>
                    <a:pt x="183" y="157"/>
                  </a:lnTo>
                  <a:lnTo>
                    <a:pt x="174" y="155"/>
                  </a:lnTo>
                  <a:lnTo>
                    <a:pt x="166" y="150"/>
                  </a:lnTo>
                  <a:lnTo>
                    <a:pt x="155" y="150"/>
                  </a:lnTo>
                  <a:lnTo>
                    <a:pt x="145" y="150"/>
                  </a:lnTo>
                  <a:lnTo>
                    <a:pt x="138" y="145"/>
                  </a:lnTo>
                  <a:lnTo>
                    <a:pt x="126" y="140"/>
                  </a:lnTo>
                  <a:lnTo>
                    <a:pt x="119" y="140"/>
                  </a:lnTo>
                  <a:lnTo>
                    <a:pt x="109" y="138"/>
                  </a:lnTo>
                  <a:lnTo>
                    <a:pt x="107" y="129"/>
                  </a:lnTo>
                  <a:lnTo>
                    <a:pt x="112" y="119"/>
                  </a:lnTo>
                  <a:lnTo>
                    <a:pt x="109" y="112"/>
                  </a:lnTo>
                  <a:lnTo>
                    <a:pt x="100" y="100"/>
                  </a:lnTo>
                  <a:lnTo>
                    <a:pt x="98" y="93"/>
                  </a:lnTo>
                  <a:lnTo>
                    <a:pt x="93" y="86"/>
                  </a:lnTo>
                  <a:lnTo>
                    <a:pt x="86" y="81"/>
                  </a:lnTo>
                  <a:lnTo>
                    <a:pt x="83" y="71"/>
                  </a:lnTo>
                  <a:lnTo>
                    <a:pt x="79" y="67"/>
                  </a:lnTo>
                  <a:lnTo>
                    <a:pt x="69" y="62"/>
                  </a:lnTo>
                  <a:lnTo>
                    <a:pt x="60" y="48"/>
                  </a:lnTo>
                  <a:lnTo>
                    <a:pt x="50" y="38"/>
                  </a:lnTo>
                  <a:lnTo>
                    <a:pt x="38" y="29"/>
                  </a:lnTo>
                  <a:lnTo>
                    <a:pt x="33" y="17"/>
                  </a:lnTo>
                  <a:lnTo>
                    <a:pt x="24" y="7"/>
                  </a:lnTo>
                  <a:lnTo>
                    <a:pt x="14" y="5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186;p275">
              <a:extLst>
                <a:ext uri="{FF2B5EF4-FFF2-40B4-BE49-F238E27FC236}">
                  <a16:creationId xmlns:a16="http://schemas.microsoft.com/office/drawing/2014/main" id="{118328A1-B822-D3C0-0CAE-74E42E8B072E}"/>
                </a:ext>
              </a:extLst>
            </p:cNvPr>
            <p:cNvSpPr/>
            <p:nvPr/>
          </p:nvSpPr>
          <p:spPr>
            <a:xfrm>
              <a:off x="8261015" y="4062562"/>
              <a:ext cx="482301" cy="439744"/>
            </a:xfrm>
            <a:custGeom>
              <a:avLst/>
              <a:gdLst/>
              <a:ahLst/>
              <a:cxnLst/>
              <a:rect l="l" t="t" r="r" b="b"/>
              <a:pathLst>
                <a:path w="204" h="186" extrusionOk="0">
                  <a:moveTo>
                    <a:pt x="12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33"/>
                  </a:lnTo>
                  <a:lnTo>
                    <a:pt x="26" y="45"/>
                  </a:lnTo>
                  <a:lnTo>
                    <a:pt x="36" y="50"/>
                  </a:lnTo>
                  <a:lnTo>
                    <a:pt x="38" y="62"/>
                  </a:lnTo>
                  <a:lnTo>
                    <a:pt x="45" y="71"/>
                  </a:lnTo>
                  <a:lnTo>
                    <a:pt x="50" y="71"/>
                  </a:lnTo>
                  <a:lnTo>
                    <a:pt x="55" y="81"/>
                  </a:lnTo>
                  <a:lnTo>
                    <a:pt x="57" y="86"/>
                  </a:lnTo>
                  <a:lnTo>
                    <a:pt x="62" y="98"/>
                  </a:lnTo>
                  <a:lnTo>
                    <a:pt x="64" y="110"/>
                  </a:lnTo>
                  <a:lnTo>
                    <a:pt x="71" y="117"/>
                  </a:lnTo>
                  <a:lnTo>
                    <a:pt x="83" y="129"/>
                  </a:lnTo>
                  <a:lnTo>
                    <a:pt x="95" y="136"/>
                  </a:lnTo>
                  <a:lnTo>
                    <a:pt x="100" y="138"/>
                  </a:lnTo>
                  <a:lnTo>
                    <a:pt x="105" y="143"/>
                  </a:lnTo>
                  <a:lnTo>
                    <a:pt x="105" y="152"/>
                  </a:lnTo>
                  <a:lnTo>
                    <a:pt x="100" y="157"/>
                  </a:lnTo>
                  <a:lnTo>
                    <a:pt x="102" y="167"/>
                  </a:lnTo>
                  <a:lnTo>
                    <a:pt x="112" y="169"/>
                  </a:lnTo>
                  <a:lnTo>
                    <a:pt x="121" y="171"/>
                  </a:lnTo>
                  <a:lnTo>
                    <a:pt x="133" y="171"/>
                  </a:lnTo>
                  <a:lnTo>
                    <a:pt x="157" y="179"/>
                  </a:lnTo>
                  <a:lnTo>
                    <a:pt x="181" y="186"/>
                  </a:lnTo>
                  <a:lnTo>
                    <a:pt x="190" y="186"/>
                  </a:lnTo>
                  <a:lnTo>
                    <a:pt x="202" y="186"/>
                  </a:lnTo>
                  <a:lnTo>
                    <a:pt x="204" y="179"/>
                  </a:lnTo>
                  <a:lnTo>
                    <a:pt x="202" y="171"/>
                  </a:lnTo>
                  <a:lnTo>
                    <a:pt x="202" y="164"/>
                  </a:lnTo>
                  <a:lnTo>
                    <a:pt x="195" y="162"/>
                  </a:lnTo>
                  <a:lnTo>
                    <a:pt x="183" y="157"/>
                  </a:lnTo>
                  <a:lnTo>
                    <a:pt x="174" y="155"/>
                  </a:lnTo>
                  <a:lnTo>
                    <a:pt x="166" y="150"/>
                  </a:lnTo>
                  <a:lnTo>
                    <a:pt x="155" y="150"/>
                  </a:lnTo>
                  <a:lnTo>
                    <a:pt x="145" y="150"/>
                  </a:lnTo>
                  <a:lnTo>
                    <a:pt x="138" y="145"/>
                  </a:lnTo>
                  <a:lnTo>
                    <a:pt x="126" y="140"/>
                  </a:lnTo>
                  <a:lnTo>
                    <a:pt x="119" y="140"/>
                  </a:lnTo>
                  <a:lnTo>
                    <a:pt x="109" y="138"/>
                  </a:lnTo>
                  <a:lnTo>
                    <a:pt x="107" y="129"/>
                  </a:lnTo>
                  <a:lnTo>
                    <a:pt x="112" y="119"/>
                  </a:lnTo>
                  <a:lnTo>
                    <a:pt x="109" y="112"/>
                  </a:lnTo>
                  <a:lnTo>
                    <a:pt x="100" y="100"/>
                  </a:lnTo>
                  <a:lnTo>
                    <a:pt x="98" y="93"/>
                  </a:lnTo>
                  <a:lnTo>
                    <a:pt x="93" y="86"/>
                  </a:lnTo>
                  <a:lnTo>
                    <a:pt x="86" y="81"/>
                  </a:lnTo>
                  <a:lnTo>
                    <a:pt x="83" y="71"/>
                  </a:lnTo>
                  <a:lnTo>
                    <a:pt x="79" y="67"/>
                  </a:lnTo>
                  <a:lnTo>
                    <a:pt x="69" y="62"/>
                  </a:lnTo>
                  <a:lnTo>
                    <a:pt x="60" y="48"/>
                  </a:lnTo>
                  <a:lnTo>
                    <a:pt x="50" y="38"/>
                  </a:lnTo>
                  <a:lnTo>
                    <a:pt x="38" y="29"/>
                  </a:lnTo>
                  <a:lnTo>
                    <a:pt x="33" y="17"/>
                  </a:lnTo>
                  <a:lnTo>
                    <a:pt x="24" y="7"/>
                  </a:lnTo>
                  <a:lnTo>
                    <a:pt x="14" y="5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187;p275">
              <a:extLst>
                <a:ext uri="{FF2B5EF4-FFF2-40B4-BE49-F238E27FC236}">
                  <a16:creationId xmlns:a16="http://schemas.microsoft.com/office/drawing/2014/main" id="{67FEFA6B-4D31-E8B1-88AD-51B3257FCAA4}"/>
                </a:ext>
              </a:extLst>
            </p:cNvPr>
            <p:cNvSpPr/>
            <p:nvPr/>
          </p:nvSpPr>
          <p:spPr>
            <a:xfrm>
              <a:off x="7863826" y="3949080"/>
              <a:ext cx="66198" cy="96933"/>
            </a:xfrm>
            <a:custGeom>
              <a:avLst/>
              <a:gdLst/>
              <a:ahLst/>
              <a:cxnLst/>
              <a:rect l="l" t="t" r="r" b="b"/>
              <a:pathLst>
                <a:path w="28" h="41" extrusionOk="0">
                  <a:moveTo>
                    <a:pt x="11" y="0"/>
                  </a:moveTo>
                  <a:lnTo>
                    <a:pt x="7" y="3"/>
                  </a:lnTo>
                  <a:lnTo>
                    <a:pt x="4" y="12"/>
                  </a:lnTo>
                  <a:lnTo>
                    <a:pt x="0" y="17"/>
                  </a:lnTo>
                  <a:lnTo>
                    <a:pt x="2" y="29"/>
                  </a:lnTo>
                  <a:lnTo>
                    <a:pt x="11" y="36"/>
                  </a:lnTo>
                  <a:lnTo>
                    <a:pt x="16" y="41"/>
                  </a:lnTo>
                  <a:lnTo>
                    <a:pt x="23" y="41"/>
                  </a:lnTo>
                  <a:lnTo>
                    <a:pt x="26" y="36"/>
                  </a:lnTo>
                  <a:lnTo>
                    <a:pt x="28" y="27"/>
                  </a:lnTo>
                  <a:lnTo>
                    <a:pt x="28" y="15"/>
                  </a:lnTo>
                  <a:lnTo>
                    <a:pt x="23" y="5"/>
                  </a:lnTo>
                  <a:lnTo>
                    <a:pt x="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0188;p275">
              <a:extLst>
                <a:ext uri="{FF2B5EF4-FFF2-40B4-BE49-F238E27FC236}">
                  <a16:creationId xmlns:a16="http://schemas.microsoft.com/office/drawing/2014/main" id="{7EDCAD72-FDE6-A14F-2BBE-CA0896B8466A}"/>
                </a:ext>
              </a:extLst>
            </p:cNvPr>
            <p:cNvSpPr/>
            <p:nvPr/>
          </p:nvSpPr>
          <p:spPr>
            <a:xfrm>
              <a:off x="7863826" y="3949080"/>
              <a:ext cx="66198" cy="96933"/>
            </a:xfrm>
            <a:custGeom>
              <a:avLst/>
              <a:gdLst/>
              <a:ahLst/>
              <a:cxnLst/>
              <a:rect l="l" t="t" r="r" b="b"/>
              <a:pathLst>
                <a:path w="28" h="41" extrusionOk="0">
                  <a:moveTo>
                    <a:pt x="11" y="0"/>
                  </a:moveTo>
                  <a:lnTo>
                    <a:pt x="7" y="3"/>
                  </a:lnTo>
                  <a:lnTo>
                    <a:pt x="4" y="12"/>
                  </a:lnTo>
                  <a:lnTo>
                    <a:pt x="0" y="17"/>
                  </a:lnTo>
                  <a:lnTo>
                    <a:pt x="2" y="29"/>
                  </a:lnTo>
                  <a:lnTo>
                    <a:pt x="11" y="36"/>
                  </a:lnTo>
                  <a:lnTo>
                    <a:pt x="16" y="41"/>
                  </a:lnTo>
                  <a:lnTo>
                    <a:pt x="23" y="41"/>
                  </a:lnTo>
                  <a:lnTo>
                    <a:pt x="26" y="36"/>
                  </a:lnTo>
                  <a:lnTo>
                    <a:pt x="28" y="27"/>
                  </a:lnTo>
                  <a:lnTo>
                    <a:pt x="28" y="15"/>
                  </a:lnTo>
                  <a:lnTo>
                    <a:pt x="23" y="5"/>
                  </a:lnTo>
                  <a:lnTo>
                    <a:pt x="16" y="0"/>
                  </a:lnTo>
                  <a:lnTo>
                    <a:pt x="11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0189;p275">
              <a:extLst>
                <a:ext uri="{FF2B5EF4-FFF2-40B4-BE49-F238E27FC236}">
                  <a16:creationId xmlns:a16="http://schemas.microsoft.com/office/drawing/2014/main" id="{68BAB986-0163-9FA4-3BC3-18C3BB1F827C}"/>
                </a:ext>
              </a:extLst>
            </p:cNvPr>
            <p:cNvSpPr/>
            <p:nvPr/>
          </p:nvSpPr>
          <p:spPr>
            <a:xfrm>
              <a:off x="8558906" y="3634639"/>
              <a:ext cx="78019" cy="6856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7" y="0"/>
                  </a:moveTo>
                  <a:lnTo>
                    <a:pt x="12" y="0"/>
                  </a:lnTo>
                  <a:lnTo>
                    <a:pt x="5" y="5"/>
                  </a:lnTo>
                  <a:lnTo>
                    <a:pt x="0" y="12"/>
                  </a:lnTo>
                  <a:lnTo>
                    <a:pt x="0" y="22"/>
                  </a:lnTo>
                  <a:lnTo>
                    <a:pt x="7" y="29"/>
                  </a:lnTo>
                  <a:lnTo>
                    <a:pt x="17" y="29"/>
                  </a:lnTo>
                  <a:lnTo>
                    <a:pt x="24" y="24"/>
                  </a:lnTo>
                  <a:lnTo>
                    <a:pt x="29" y="19"/>
                  </a:lnTo>
                  <a:lnTo>
                    <a:pt x="33" y="12"/>
                  </a:lnTo>
                  <a:lnTo>
                    <a:pt x="26" y="3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0190;p275">
              <a:extLst>
                <a:ext uri="{FF2B5EF4-FFF2-40B4-BE49-F238E27FC236}">
                  <a16:creationId xmlns:a16="http://schemas.microsoft.com/office/drawing/2014/main" id="{922AC5CC-41E2-A062-4C0E-F089E423669C}"/>
                </a:ext>
              </a:extLst>
            </p:cNvPr>
            <p:cNvSpPr/>
            <p:nvPr/>
          </p:nvSpPr>
          <p:spPr>
            <a:xfrm>
              <a:off x="8558906" y="3634639"/>
              <a:ext cx="78019" cy="68562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7" y="0"/>
                  </a:moveTo>
                  <a:lnTo>
                    <a:pt x="12" y="0"/>
                  </a:lnTo>
                  <a:lnTo>
                    <a:pt x="5" y="5"/>
                  </a:lnTo>
                  <a:lnTo>
                    <a:pt x="0" y="12"/>
                  </a:lnTo>
                  <a:lnTo>
                    <a:pt x="0" y="22"/>
                  </a:lnTo>
                  <a:lnTo>
                    <a:pt x="7" y="29"/>
                  </a:lnTo>
                  <a:lnTo>
                    <a:pt x="17" y="29"/>
                  </a:lnTo>
                  <a:lnTo>
                    <a:pt x="24" y="24"/>
                  </a:lnTo>
                  <a:lnTo>
                    <a:pt x="29" y="19"/>
                  </a:lnTo>
                  <a:lnTo>
                    <a:pt x="33" y="12"/>
                  </a:lnTo>
                  <a:lnTo>
                    <a:pt x="26" y="3"/>
                  </a:lnTo>
                  <a:lnTo>
                    <a:pt x="17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20191;p275">
              <a:extLst>
                <a:ext uri="{FF2B5EF4-FFF2-40B4-BE49-F238E27FC236}">
                  <a16:creationId xmlns:a16="http://schemas.microsoft.com/office/drawing/2014/main" id="{A60FDDE6-EA3F-E2EF-5350-F1D9FFF6E244}"/>
                </a:ext>
              </a:extLst>
            </p:cNvPr>
            <p:cNvSpPr/>
            <p:nvPr/>
          </p:nvSpPr>
          <p:spPr>
            <a:xfrm>
              <a:off x="8603827" y="4034192"/>
              <a:ext cx="241150" cy="309712"/>
            </a:xfrm>
            <a:custGeom>
              <a:avLst/>
              <a:gdLst/>
              <a:ahLst/>
              <a:cxnLst/>
              <a:rect l="l" t="t" r="r" b="b"/>
              <a:pathLst>
                <a:path w="102" h="131" extrusionOk="0">
                  <a:moveTo>
                    <a:pt x="86" y="0"/>
                  </a:moveTo>
                  <a:lnTo>
                    <a:pt x="78" y="3"/>
                  </a:lnTo>
                  <a:lnTo>
                    <a:pt x="74" y="17"/>
                  </a:lnTo>
                  <a:lnTo>
                    <a:pt x="55" y="29"/>
                  </a:lnTo>
                  <a:lnTo>
                    <a:pt x="52" y="38"/>
                  </a:lnTo>
                  <a:lnTo>
                    <a:pt x="43" y="45"/>
                  </a:lnTo>
                  <a:lnTo>
                    <a:pt x="29" y="55"/>
                  </a:lnTo>
                  <a:lnTo>
                    <a:pt x="19" y="67"/>
                  </a:lnTo>
                  <a:lnTo>
                    <a:pt x="7" y="67"/>
                  </a:lnTo>
                  <a:lnTo>
                    <a:pt x="0" y="72"/>
                  </a:lnTo>
                  <a:lnTo>
                    <a:pt x="0" y="91"/>
                  </a:lnTo>
                  <a:lnTo>
                    <a:pt x="10" y="100"/>
                  </a:lnTo>
                  <a:lnTo>
                    <a:pt x="19" y="107"/>
                  </a:lnTo>
                  <a:lnTo>
                    <a:pt x="24" y="114"/>
                  </a:lnTo>
                  <a:lnTo>
                    <a:pt x="31" y="122"/>
                  </a:lnTo>
                  <a:lnTo>
                    <a:pt x="43" y="124"/>
                  </a:lnTo>
                  <a:lnTo>
                    <a:pt x="55" y="129"/>
                  </a:lnTo>
                  <a:lnTo>
                    <a:pt x="62" y="131"/>
                  </a:lnTo>
                  <a:lnTo>
                    <a:pt x="69" y="126"/>
                  </a:lnTo>
                  <a:lnTo>
                    <a:pt x="78" y="117"/>
                  </a:lnTo>
                  <a:lnTo>
                    <a:pt x="78" y="107"/>
                  </a:lnTo>
                  <a:lnTo>
                    <a:pt x="81" y="100"/>
                  </a:lnTo>
                  <a:lnTo>
                    <a:pt x="88" y="93"/>
                  </a:lnTo>
                  <a:lnTo>
                    <a:pt x="95" y="86"/>
                  </a:lnTo>
                  <a:lnTo>
                    <a:pt x="97" y="76"/>
                  </a:lnTo>
                  <a:lnTo>
                    <a:pt x="95" y="60"/>
                  </a:lnTo>
                  <a:lnTo>
                    <a:pt x="93" y="48"/>
                  </a:lnTo>
                  <a:lnTo>
                    <a:pt x="93" y="38"/>
                  </a:lnTo>
                  <a:lnTo>
                    <a:pt x="95" y="33"/>
                  </a:lnTo>
                  <a:lnTo>
                    <a:pt x="102" y="31"/>
                  </a:lnTo>
                  <a:lnTo>
                    <a:pt x="102" y="19"/>
                  </a:lnTo>
                  <a:lnTo>
                    <a:pt x="93" y="12"/>
                  </a:lnTo>
                  <a:lnTo>
                    <a:pt x="93" y="3"/>
                  </a:ln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20192;p275">
              <a:extLst>
                <a:ext uri="{FF2B5EF4-FFF2-40B4-BE49-F238E27FC236}">
                  <a16:creationId xmlns:a16="http://schemas.microsoft.com/office/drawing/2014/main" id="{B828F262-79D9-E2A0-880F-EBE2F55399FF}"/>
                </a:ext>
              </a:extLst>
            </p:cNvPr>
            <p:cNvSpPr/>
            <p:nvPr/>
          </p:nvSpPr>
          <p:spPr>
            <a:xfrm>
              <a:off x="8603827" y="4034192"/>
              <a:ext cx="241150" cy="309712"/>
            </a:xfrm>
            <a:custGeom>
              <a:avLst/>
              <a:gdLst/>
              <a:ahLst/>
              <a:cxnLst/>
              <a:rect l="l" t="t" r="r" b="b"/>
              <a:pathLst>
                <a:path w="102" h="131" extrusionOk="0">
                  <a:moveTo>
                    <a:pt x="86" y="0"/>
                  </a:moveTo>
                  <a:lnTo>
                    <a:pt x="78" y="3"/>
                  </a:lnTo>
                  <a:lnTo>
                    <a:pt x="74" y="17"/>
                  </a:lnTo>
                  <a:lnTo>
                    <a:pt x="55" y="29"/>
                  </a:lnTo>
                  <a:lnTo>
                    <a:pt x="52" y="38"/>
                  </a:lnTo>
                  <a:lnTo>
                    <a:pt x="43" y="45"/>
                  </a:lnTo>
                  <a:lnTo>
                    <a:pt x="29" y="55"/>
                  </a:lnTo>
                  <a:lnTo>
                    <a:pt x="19" y="67"/>
                  </a:lnTo>
                  <a:lnTo>
                    <a:pt x="7" y="67"/>
                  </a:lnTo>
                  <a:lnTo>
                    <a:pt x="0" y="72"/>
                  </a:lnTo>
                  <a:lnTo>
                    <a:pt x="0" y="91"/>
                  </a:lnTo>
                  <a:lnTo>
                    <a:pt x="10" y="100"/>
                  </a:lnTo>
                  <a:lnTo>
                    <a:pt x="19" y="107"/>
                  </a:lnTo>
                  <a:lnTo>
                    <a:pt x="24" y="114"/>
                  </a:lnTo>
                  <a:lnTo>
                    <a:pt x="31" y="122"/>
                  </a:lnTo>
                  <a:lnTo>
                    <a:pt x="43" y="124"/>
                  </a:lnTo>
                  <a:lnTo>
                    <a:pt x="55" y="129"/>
                  </a:lnTo>
                  <a:lnTo>
                    <a:pt x="62" y="131"/>
                  </a:lnTo>
                  <a:lnTo>
                    <a:pt x="69" y="126"/>
                  </a:lnTo>
                  <a:lnTo>
                    <a:pt x="78" y="117"/>
                  </a:lnTo>
                  <a:lnTo>
                    <a:pt x="78" y="107"/>
                  </a:lnTo>
                  <a:lnTo>
                    <a:pt x="81" y="100"/>
                  </a:lnTo>
                  <a:lnTo>
                    <a:pt x="88" y="93"/>
                  </a:lnTo>
                  <a:lnTo>
                    <a:pt x="95" y="86"/>
                  </a:lnTo>
                  <a:lnTo>
                    <a:pt x="97" y="76"/>
                  </a:lnTo>
                  <a:lnTo>
                    <a:pt x="95" y="60"/>
                  </a:lnTo>
                  <a:lnTo>
                    <a:pt x="93" y="48"/>
                  </a:lnTo>
                  <a:lnTo>
                    <a:pt x="93" y="38"/>
                  </a:lnTo>
                  <a:lnTo>
                    <a:pt x="95" y="33"/>
                  </a:lnTo>
                  <a:lnTo>
                    <a:pt x="102" y="31"/>
                  </a:lnTo>
                  <a:lnTo>
                    <a:pt x="102" y="19"/>
                  </a:lnTo>
                  <a:lnTo>
                    <a:pt x="93" y="12"/>
                  </a:lnTo>
                  <a:lnTo>
                    <a:pt x="93" y="3"/>
                  </a:lnTo>
                  <a:lnTo>
                    <a:pt x="86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20193;p275">
              <a:extLst>
                <a:ext uri="{FF2B5EF4-FFF2-40B4-BE49-F238E27FC236}">
                  <a16:creationId xmlns:a16="http://schemas.microsoft.com/office/drawing/2014/main" id="{0DD0A000-B3BD-5284-508D-642CCB986D7D}"/>
                </a:ext>
              </a:extLst>
            </p:cNvPr>
            <p:cNvSpPr/>
            <p:nvPr/>
          </p:nvSpPr>
          <p:spPr>
            <a:xfrm>
              <a:off x="8844977" y="4185502"/>
              <a:ext cx="174952" cy="219872"/>
            </a:xfrm>
            <a:custGeom>
              <a:avLst/>
              <a:gdLst/>
              <a:ahLst/>
              <a:cxnLst/>
              <a:rect l="l" t="t" r="r" b="b"/>
              <a:pathLst>
                <a:path w="74" h="93" extrusionOk="0">
                  <a:moveTo>
                    <a:pt x="69" y="0"/>
                  </a:moveTo>
                  <a:lnTo>
                    <a:pt x="64" y="3"/>
                  </a:lnTo>
                  <a:lnTo>
                    <a:pt x="55" y="5"/>
                  </a:lnTo>
                  <a:lnTo>
                    <a:pt x="48" y="5"/>
                  </a:lnTo>
                  <a:lnTo>
                    <a:pt x="38" y="5"/>
                  </a:lnTo>
                  <a:lnTo>
                    <a:pt x="29" y="3"/>
                  </a:lnTo>
                  <a:lnTo>
                    <a:pt x="17" y="5"/>
                  </a:lnTo>
                  <a:lnTo>
                    <a:pt x="10" y="12"/>
                  </a:lnTo>
                  <a:lnTo>
                    <a:pt x="7" y="22"/>
                  </a:lnTo>
                  <a:lnTo>
                    <a:pt x="5" y="36"/>
                  </a:lnTo>
                  <a:lnTo>
                    <a:pt x="3" y="50"/>
                  </a:lnTo>
                  <a:lnTo>
                    <a:pt x="0" y="65"/>
                  </a:lnTo>
                  <a:lnTo>
                    <a:pt x="5" y="72"/>
                  </a:lnTo>
                  <a:lnTo>
                    <a:pt x="5" y="84"/>
                  </a:lnTo>
                  <a:lnTo>
                    <a:pt x="10" y="93"/>
                  </a:lnTo>
                  <a:lnTo>
                    <a:pt x="19" y="93"/>
                  </a:lnTo>
                  <a:lnTo>
                    <a:pt x="22" y="86"/>
                  </a:lnTo>
                  <a:lnTo>
                    <a:pt x="19" y="79"/>
                  </a:lnTo>
                  <a:lnTo>
                    <a:pt x="17" y="69"/>
                  </a:lnTo>
                  <a:lnTo>
                    <a:pt x="19" y="60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6" y="69"/>
                  </a:lnTo>
                  <a:lnTo>
                    <a:pt x="29" y="81"/>
                  </a:lnTo>
                  <a:lnTo>
                    <a:pt x="36" y="81"/>
                  </a:lnTo>
                  <a:lnTo>
                    <a:pt x="45" y="77"/>
                  </a:lnTo>
                  <a:lnTo>
                    <a:pt x="43" y="65"/>
                  </a:lnTo>
                  <a:lnTo>
                    <a:pt x="43" y="55"/>
                  </a:lnTo>
                  <a:lnTo>
                    <a:pt x="41" y="48"/>
                  </a:lnTo>
                  <a:lnTo>
                    <a:pt x="41" y="41"/>
                  </a:lnTo>
                  <a:lnTo>
                    <a:pt x="45" y="41"/>
                  </a:lnTo>
                  <a:lnTo>
                    <a:pt x="52" y="34"/>
                  </a:lnTo>
                  <a:lnTo>
                    <a:pt x="52" y="29"/>
                  </a:lnTo>
                  <a:lnTo>
                    <a:pt x="45" y="29"/>
                  </a:lnTo>
                  <a:lnTo>
                    <a:pt x="36" y="29"/>
                  </a:lnTo>
                  <a:lnTo>
                    <a:pt x="29" y="31"/>
                  </a:lnTo>
                  <a:lnTo>
                    <a:pt x="26" y="36"/>
                  </a:lnTo>
                  <a:lnTo>
                    <a:pt x="24" y="31"/>
                  </a:lnTo>
                  <a:lnTo>
                    <a:pt x="24" y="24"/>
                  </a:lnTo>
                  <a:lnTo>
                    <a:pt x="31" y="19"/>
                  </a:lnTo>
                  <a:lnTo>
                    <a:pt x="43" y="17"/>
                  </a:lnTo>
                  <a:lnTo>
                    <a:pt x="57" y="19"/>
                  </a:lnTo>
                  <a:lnTo>
                    <a:pt x="67" y="17"/>
                  </a:lnTo>
                  <a:lnTo>
                    <a:pt x="74" y="10"/>
                  </a:lnTo>
                  <a:lnTo>
                    <a:pt x="74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20194;p275">
              <a:extLst>
                <a:ext uri="{FF2B5EF4-FFF2-40B4-BE49-F238E27FC236}">
                  <a16:creationId xmlns:a16="http://schemas.microsoft.com/office/drawing/2014/main" id="{47254F34-B0B7-2622-E488-780C8A9DB395}"/>
                </a:ext>
              </a:extLst>
            </p:cNvPr>
            <p:cNvSpPr/>
            <p:nvPr/>
          </p:nvSpPr>
          <p:spPr>
            <a:xfrm>
              <a:off x="8844977" y="4185502"/>
              <a:ext cx="174952" cy="219872"/>
            </a:xfrm>
            <a:custGeom>
              <a:avLst/>
              <a:gdLst/>
              <a:ahLst/>
              <a:cxnLst/>
              <a:rect l="l" t="t" r="r" b="b"/>
              <a:pathLst>
                <a:path w="74" h="93" extrusionOk="0">
                  <a:moveTo>
                    <a:pt x="69" y="0"/>
                  </a:moveTo>
                  <a:lnTo>
                    <a:pt x="64" y="3"/>
                  </a:lnTo>
                  <a:lnTo>
                    <a:pt x="55" y="5"/>
                  </a:lnTo>
                  <a:lnTo>
                    <a:pt x="48" y="5"/>
                  </a:lnTo>
                  <a:lnTo>
                    <a:pt x="38" y="5"/>
                  </a:lnTo>
                  <a:lnTo>
                    <a:pt x="29" y="3"/>
                  </a:lnTo>
                  <a:lnTo>
                    <a:pt x="17" y="5"/>
                  </a:lnTo>
                  <a:lnTo>
                    <a:pt x="10" y="12"/>
                  </a:lnTo>
                  <a:lnTo>
                    <a:pt x="7" y="22"/>
                  </a:lnTo>
                  <a:lnTo>
                    <a:pt x="5" y="36"/>
                  </a:lnTo>
                  <a:lnTo>
                    <a:pt x="3" y="50"/>
                  </a:lnTo>
                  <a:lnTo>
                    <a:pt x="0" y="65"/>
                  </a:lnTo>
                  <a:lnTo>
                    <a:pt x="5" y="72"/>
                  </a:lnTo>
                  <a:lnTo>
                    <a:pt x="5" y="84"/>
                  </a:lnTo>
                  <a:lnTo>
                    <a:pt x="10" y="93"/>
                  </a:lnTo>
                  <a:lnTo>
                    <a:pt x="19" y="93"/>
                  </a:lnTo>
                  <a:lnTo>
                    <a:pt x="22" y="86"/>
                  </a:lnTo>
                  <a:lnTo>
                    <a:pt x="19" y="79"/>
                  </a:lnTo>
                  <a:lnTo>
                    <a:pt x="17" y="69"/>
                  </a:lnTo>
                  <a:lnTo>
                    <a:pt x="19" y="60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6" y="69"/>
                  </a:lnTo>
                  <a:lnTo>
                    <a:pt x="29" y="81"/>
                  </a:lnTo>
                  <a:lnTo>
                    <a:pt x="36" y="81"/>
                  </a:lnTo>
                  <a:lnTo>
                    <a:pt x="45" y="77"/>
                  </a:lnTo>
                  <a:lnTo>
                    <a:pt x="43" y="65"/>
                  </a:lnTo>
                  <a:lnTo>
                    <a:pt x="43" y="55"/>
                  </a:lnTo>
                  <a:lnTo>
                    <a:pt x="41" y="48"/>
                  </a:lnTo>
                  <a:lnTo>
                    <a:pt x="41" y="41"/>
                  </a:lnTo>
                  <a:lnTo>
                    <a:pt x="45" y="41"/>
                  </a:lnTo>
                  <a:lnTo>
                    <a:pt x="52" y="34"/>
                  </a:lnTo>
                  <a:lnTo>
                    <a:pt x="52" y="29"/>
                  </a:lnTo>
                  <a:lnTo>
                    <a:pt x="45" y="29"/>
                  </a:lnTo>
                  <a:lnTo>
                    <a:pt x="36" y="29"/>
                  </a:lnTo>
                  <a:lnTo>
                    <a:pt x="29" y="31"/>
                  </a:lnTo>
                  <a:lnTo>
                    <a:pt x="26" y="36"/>
                  </a:lnTo>
                  <a:lnTo>
                    <a:pt x="24" y="31"/>
                  </a:lnTo>
                  <a:lnTo>
                    <a:pt x="24" y="24"/>
                  </a:lnTo>
                  <a:lnTo>
                    <a:pt x="31" y="19"/>
                  </a:lnTo>
                  <a:lnTo>
                    <a:pt x="43" y="17"/>
                  </a:lnTo>
                  <a:lnTo>
                    <a:pt x="57" y="19"/>
                  </a:lnTo>
                  <a:lnTo>
                    <a:pt x="67" y="17"/>
                  </a:lnTo>
                  <a:lnTo>
                    <a:pt x="74" y="10"/>
                  </a:lnTo>
                  <a:lnTo>
                    <a:pt x="74" y="3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20195;p275">
              <a:extLst>
                <a:ext uri="{FF2B5EF4-FFF2-40B4-BE49-F238E27FC236}">
                  <a16:creationId xmlns:a16="http://schemas.microsoft.com/office/drawing/2014/main" id="{1AC3B34F-E626-B9EB-F029-9083210FFC60}"/>
                </a:ext>
              </a:extLst>
            </p:cNvPr>
            <p:cNvSpPr/>
            <p:nvPr/>
          </p:nvSpPr>
          <p:spPr>
            <a:xfrm>
              <a:off x="8930089" y="3960901"/>
              <a:ext cx="106390" cy="101661"/>
            </a:xfrm>
            <a:custGeom>
              <a:avLst/>
              <a:gdLst/>
              <a:ahLst/>
              <a:cxnLst/>
              <a:rect l="l" t="t" r="r" b="b"/>
              <a:pathLst>
                <a:path w="45" h="43" extrusionOk="0">
                  <a:moveTo>
                    <a:pt x="31" y="0"/>
                  </a:moveTo>
                  <a:lnTo>
                    <a:pt x="24" y="5"/>
                  </a:lnTo>
                  <a:lnTo>
                    <a:pt x="24" y="7"/>
                  </a:lnTo>
                  <a:lnTo>
                    <a:pt x="16" y="10"/>
                  </a:lnTo>
                  <a:lnTo>
                    <a:pt x="7" y="10"/>
                  </a:lnTo>
                  <a:lnTo>
                    <a:pt x="2" y="15"/>
                  </a:lnTo>
                  <a:lnTo>
                    <a:pt x="0" y="24"/>
                  </a:lnTo>
                  <a:lnTo>
                    <a:pt x="5" y="26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21" y="31"/>
                  </a:lnTo>
                  <a:lnTo>
                    <a:pt x="21" y="38"/>
                  </a:lnTo>
                  <a:lnTo>
                    <a:pt x="31" y="43"/>
                  </a:lnTo>
                  <a:lnTo>
                    <a:pt x="38" y="41"/>
                  </a:lnTo>
                  <a:lnTo>
                    <a:pt x="35" y="31"/>
                  </a:lnTo>
                  <a:lnTo>
                    <a:pt x="40" y="31"/>
                  </a:lnTo>
                  <a:lnTo>
                    <a:pt x="45" y="29"/>
                  </a:lnTo>
                  <a:lnTo>
                    <a:pt x="43" y="19"/>
                  </a:lnTo>
                  <a:lnTo>
                    <a:pt x="40" y="12"/>
                  </a:lnTo>
                  <a:lnTo>
                    <a:pt x="38" y="3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20196;p275">
              <a:extLst>
                <a:ext uri="{FF2B5EF4-FFF2-40B4-BE49-F238E27FC236}">
                  <a16:creationId xmlns:a16="http://schemas.microsoft.com/office/drawing/2014/main" id="{EAE39DDD-660C-5D21-4108-B72690586195}"/>
                </a:ext>
              </a:extLst>
            </p:cNvPr>
            <p:cNvSpPr/>
            <p:nvPr/>
          </p:nvSpPr>
          <p:spPr>
            <a:xfrm>
              <a:off x="8930089" y="3960901"/>
              <a:ext cx="106390" cy="101661"/>
            </a:xfrm>
            <a:custGeom>
              <a:avLst/>
              <a:gdLst/>
              <a:ahLst/>
              <a:cxnLst/>
              <a:rect l="l" t="t" r="r" b="b"/>
              <a:pathLst>
                <a:path w="45" h="43" extrusionOk="0">
                  <a:moveTo>
                    <a:pt x="31" y="0"/>
                  </a:moveTo>
                  <a:lnTo>
                    <a:pt x="24" y="5"/>
                  </a:lnTo>
                  <a:lnTo>
                    <a:pt x="24" y="7"/>
                  </a:lnTo>
                  <a:lnTo>
                    <a:pt x="16" y="10"/>
                  </a:lnTo>
                  <a:lnTo>
                    <a:pt x="7" y="10"/>
                  </a:lnTo>
                  <a:lnTo>
                    <a:pt x="2" y="15"/>
                  </a:lnTo>
                  <a:lnTo>
                    <a:pt x="0" y="24"/>
                  </a:lnTo>
                  <a:lnTo>
                    <a:pt x="5" y="26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21" y="31"/>
                  </a:lnTo>
                  <a:lnTo>
                    <a:pt x="21" y="38"/>
                  </a:lnTo>
                  <a:lnTo>
                    <a:pt x="31" y="43"/>
                  </a:lnTo>
                  <a:lnTo>
                    <a:pt x="38" y="41"/>
                  </a:lnTo>
                  <a:lnTo>
                    <a:pt x="35" y="31"/>
                  </a:lnTo>
                  <a:lnTo>
                    <a:pt x="40" y="31"/>
                  </a:lnTo>
                  <a:lnTo>
                    <a:pt x="45" y="29"/>
                  </a:lnTo>
                  <a:lnTo>
                    <a:pt x="43" y="19"/>
                  </a:lnTo>
                  <a:lnTo>
                    <a:pt x="40" y="12"/>
                  </a:lnTo>
                  <a:lnTo>
                    <a:pt x="38" y="3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20197;p275">
              <a:extLst>
                <a:ext uri="{FF2B5EF4-FFF2-40B4-BE49-F238E27FC236}">
                  <a16:creationId xmlns:a16="http://schemas.microsoft.com/office/drawing/2014/main" id="{C06FA453-5CC9-ED32-8223-2ED9DFC8A5CF}"/>
                </a:ext>
              </a:extLst>
            </p:cNvPr>
            <p:cNvSpPr/>
            <p:nvPr/>
          </p:nvSpPr>
          <p:spPr>
            <a:xfrm>
              <a:off x="8844977" y="3686652"/>
              <a:ext cx="106390" cy="167859"/>
            </a:xfrm>
            <a:custGeom>
              <a:avLst/>
              <a:gdLst/>
              <a:ahLst/>
              <a:cxnLst/>
              <a:rect l="l" t="t" r="r" b="b"/>
              <a:pathLst>
                <a:path w="45" h="71" extrusionOk="0">
                  <a:moveTo>
                    <a:pt x="19" y="0"/>
                  </a:moveTo>
                  <a:lnTo>
                    <a:pt x="10" y="0"/>
                  </a:lnTo>
                  <a:lnTo>
                    <a:pt x="7" y="2"/>
                  </a:lnTo>
                  <a:lnTo>
                    <a:pt x="7" y="14"/>
                  </a:lnTo>
                  <a:lnTo>
                    <a:pt x="5" y="26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3" y="42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7" y="59"/>
                  </a:lnTo>
                  <a:lnTo>
                    <a:pt x="26" y="61"/>
                  </a:lnTo>
                  <a:lnTo>
                    <a:pt x="31" y="69"/>
                  </a:lnTo>
                  <a:lnTo>
                    <a:pt x="41" y="71"/>
                  </a:lnTo>
                  <a:lnTo>
                    <a:pt x="45" y="66"/>
                  </a:lnTo>
                  <a:lnTo>
                    <a:pt x="41" y="59"/>
                  </a:lnTo>
                  <a:lnTo>
                    <a:pt x="33" y="52"/>
                  </a:lnTo>
                  <a:lnTo>
                    <a:pt x="24" y="45"/>
                  </a:lnTo>
                  <a:lnTo>
                    <a:pt x="24" y="38"/>
                  </a:lnTo>
                  <a:lnTo>
                    <a:pt x="29" y="23"/>
                  </a:lnTo>
                  <a:lnTo>
                    <a:pt x="26" y="7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20198;p275">
              <a:extLst>
                <a:ext uri="{FF2B5EF4-FFF2-40B4-BE49-F238E27FC236}">
                  <a16:creationId xmlns:a16="http://schemas.microsoft.com/office/drawing/2014/main" id="{4BC04CC7-8360-1022-6BD4-5DE6FA53DFB1}"/>
                </a:ext>
              </a:extLst>
            </p:cNvPr>
            <p:cNvSpPr/>
            <p:nvPr/>
          </p:nvSpPr>
          <p:spPr>
            <a:xfrm>
              <a:off x="8844977" y="3686652"/>
              <a:ext cx="106390" cy="167859"/>
            </a:xfrm>
            <a:custGeom>
              <a:avLst/>
              <a:gdLst/>
              <a:ahLst/>
              <a:cxnLst/>
              <a:rect l="l" t="t" r="r" b="b"/>
              <a:pathLst>
                <a:path w="45" h="71" extrusionOk="0">
                  <a:moveTo>
                    <a:pt x="19" y="0"/>
                  </a:moveTo>
                  <a:lnTo>
                    <a:pt x="10" y="0"/>
                  </a:lnTo>
                  <a:lnTo>
                    <a:pt x="7" y="2"/>
                  </a:lnTo>
                  <a:lnTo>
                    <a:pt x="7" y="14"/>
                  </a:lnTo>
                  <a:lnTo>
                    <a:pt x="5" y="26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3" y="42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7" y="59"/>
                  </a:lnTo>
                  <a:lnTo>
                    <a:pt x="26" y="61"/>
                  </a:lnTo>
                  <a:lnTo>
                    <a:pt x="31" y="69"/>
                  </a:lnTo>
                  <a:lnTo>
                    <a:pt x="41" y="71"/>
                  </a:lnTo>
                  <a:lnTo>
                    <a:pt x="45" y="66"/>
                  </a:lnTo>
                  <a:lnTo>
                    <a:pt x="41" y="59"/>
                  </a:lnTo>
                  <a:lnTo>
                    <a:pt x="33" y="52"/>
                  </a:lnTo>
                  <a:lnTo>
                    <a:pt x="24" y="45"/>
                  </a:lnTo>
                  <a:lnTo>
                    <a:pt x="24" y="38"/>
                  </a:lnTo>
                  <a:lnTo>
                    <a:pt x="29" y="23"/>
                  </a:lnTo>
                  <a:lnTo>
                    <a:pt x="26" y="7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20199;p275">
              <a:extLst>
                <a:ext uri="{FF2B5EF4-FFF2-40B4-BE49-F238E27FC236}">
                  <a16:creationId xmlns:a16="http://schemas.microsoft.com/office/drawing/2014/main" id="{38204B8A-C9AE-05EA-041C-268267FFB469}"/>
                </a:ext>
              </a:extLst>
            </p:cNvPr>
            <p:cNvSpPr/>
            <p:nvPr/>
          </p:nvSpPr>
          <p:spPr>
            <a:xfrm>
              <a:off x="8795328" y="3887610"/>
              <a:ext cx="66198" cy="113482"/>
            </a:xfrm>
            <a:custGeom>
              <a:avLst/>
              <a:gdLst/>
              <a:ahLst/>
              <a:cxnLst/>
              <a:rect l="l" t="t" r="r" b="b"/>
              <a:pathLst>
                <a:path w="28" h="48" extrusionOk="0">
                  <a:moveTo>
                    <a:pt x="21" y="0"/>
                  </a:moveTo>
                  <a:lnTo>
                    <a:pt x="19" y="7"/>
                  </a:lnTo>
                  <a:lnTo>
                    <a:pt x="14" y="15"/>
                  </a:lnTo>
                  <a:lnTo>
                    <a:pt x="9" y="26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9" y="48"/>
                  </a:lnTo>
                  <a:lnTo>
                    <a:pt x="14" y="38"/>
                  </a:lnTo>
                  <a:lnTo>
                    <a:pt x="19" y="26"/>
                  </a:lnTo>
                  <a:lnTo>
                    <a:pt x="24" y="19"/>
                  </a:lnTo>
                  <a:lnTo>
                    <a:pt x="28" y="12"/>
                  </a:lnTo>
                  <a:lnTo>
                    <a:pt x="26" y="3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20200;p275">
              <a:extLst>
                <a:ext uri="{FF2B5EF4-FFF2-40B4-BE49-F238E27FC236}">
                  <a16:creationId xmlns:a16="http://schemas.microsoft.com/office/drawing/2014/main" id="{92F5D972-2793-48E0-94A1-C30F259ED8E3}"/>
                </a:ext>
              </a:extLst>
            </p:cNvPr>
            <p:cNvSpPr/>
            <p:nvPr/>
          </p:nvSpPr>
          <p:spPr>
            <a:xfrm>
              <a:off x="8795328" y="3887610"/>
              <a:ext cx="66198" cy="113482"/>
            </a:xfrm>
            <a:custGeom>
              <a:avLst/>
              <a:gdLst/>
              <a:ahLst/>
              <a:cxnLst/>
              <a:rect l="l" t="t" r="r" b="b"/>
              <a:pathLst>
                <a:path w="28" h="48" extrusionOk="0">
                  <a:moveTo>
                    <a:pt x="21" y="0"/>
                  </a:moveTo>
                  <a:lnTo>
                    <a:pt x="19" y="7"/>
                  </a:lnTo>
                  <a:lnTo>
                    <a:pt x="14" y="15"/>
                  </a:lnTo>
                  <a:lnTo>
                    <a:pt x="9" y="26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9" y="48"/>
                  </a:lnTo>
                  <a:lnTo>
                    <a:pt x="14" y="38"/>
                  </a:lnTo>
                  <a:lnTo>
                    <a:pt x="19" y="26"/>
                  </a:lnTo>
                  <a:lnTo>
                    <a:pt x="24" y="19"/>
                  </a:lnTo>
                  <a:lnTo>
                    <a:pt x="28" y="12"/>
                  </a:lnTo>
                  <a:lnTo>
                    <a:pt x="26" y="3"/>
                  </a:lnTo>
                  <a:lnTo>
                    <a:pt x="21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20201;p275">
              <a:extLst>
                <a:ext uri="{FF2B5EF4-FFF2-40B4-BE49-F238E27FC236}">
                  <a16:creationId xmlns:a16="http://schemas.microsoft.com/office/drawing/2014/main" id="{9642E262-BE1F-E825-D249-B43BABD1E71F}"/>
                </a:ext>
              </a:extLst>
            </p:cNvPr>
            <p:cNvSpPr/>
            <p:nvPr/>
          </p:nvSpPr>
          <p:spPr>
            <a:xfrm>
              <a:off x="9142869" y="4254064"/>
              <a:ext cx="477572" cy="314441"/>
            </a:xfrm>
            <a:custGeom>
              <a:avLst/>
              <a:gdLst/>
              <a:ahLst/>
              <a:cxnLst/>
              <a:rect l="l" t="t" r="r" b="b"/>
              <a:pathLst>
                <a:path w="202" h="133" extrusionOk="0">
                  <a:moveTo>
                    <a:pt x="29" y="0"/>
                  </a:moveTo>
                  <a:lnTo>
                    <a:pt x="19" y="0"/>
                  </a:lnTo>
                  <a:lnTo>
                    <a:pt x="5" y="0"/>
                  </a:lnTo>
                  <a:lnTo>
                    <a:pt x="0" y="7"/>
                  </a:lnTo>
                  <a:lnTo>
                    <a:pt x="5" y="12"/>
                  </a:lnTo>
                  <a:lnTo>
                    <a:pt x="14" y="17"/>
                  </a:lnTo>
                  <a:lnTo>
                    <a:pt x="19" y="19"/>
                  </a:lnTo>
                  <a:lnTo>
                    <a:pt x="19" y="24"/>
                  </a:lnTo>
                  <a:lnTo>
                    <a:pt x="14" y="24"/>
                  </a:lnTo>
                  <a:lnTo>
                    <a:pt x="7" y="26"/>
                  </a:lnTo>
                  <a:lnTo>
                    <a:pt x="7" y="33"/>
                  </a:lnTo>
                  <a:lnTo>
                    <a:pt x="12" y="40"/>
                  </a:lnTo>
                  <a:lnTo>
                    <a:pt x="17" y="45"/>
                  </a:lnTo>
                  <a:lnTo>
                    <a:pt x="21" y="45"/>
                  </a:lnTo>
                  <a:lnTo>
                    <a:pt x="26" y="43"/>
                  </a:lnTo>
                  <a:lnTo>
                    <a:pt x="31" y="40"/>
                  </a:lnTo>
                  <a:lnTo>
                    <a:pt x="40" y="45"/>
                  </a:lnTo>
                  <a:lnTo>
                    <a:pt x="50" y="50"/>
                  </a:lnTo>
                  <a:lnTo>
                    <a:pt x="64" y="55"/>
                  </a:lnTo>
                  <a:lnTo>
                    <a:pt x="71" y="59"/>
                  </a:lnTo>
                  <a:lnTo>
                    <a:pt x="74" y="69"/>
                  </a:lnTo>
                  <a:lnTo>
                    <a:pt x="71" y="76"/>
                  </a:lnTo>
                  <a:lnTo>
                    <a:pt x="71" y="83"/>
                  </a:lnTo>
                  <a:lnTo>
                    <a:pt x="69" y="90"/>
                  </a:lnTo>
                  <a:lnTo>
                    <a:pt x="67" y="98"/>
                  </a:lnTo>
                  <a:lnTo>
                    <a:pt x="71" y="100"/>
                  </a:lnTo>
                  <a:lnTo>
                    <a:pt x="83" y="100"/>
                  </a:lnTo>
                  <a:lnTo>
                    <a:pt x="90" y="105"/>
                  </a:lnTo>
                  <a:lnTo>
                    <a:pt x="98" y="109"/>
                  </a:lnTo>
                  <a:lnTo>
                    <a:pt x="109" y="109"/>
                  </a:lnTo>
                  <a:lnTo>
                    <a:pt x="124" y="109"/>
                  </a:lnTo>
                  <a:lnTo>
                    <a:pt x="131" y="102"/>
                  </a:lnTo>
                  <a:lnTo>
                    <a:pt x="136" y="98"/>
                  </a:lnTo>
                  <a:lnTo>
                    <a:pt x="145" y="98"/>
                  </a:lnTo>
                  <a:lnTo>
                    <a:pt x="152" y="102"/>
                  </a:lnTo>
                  <a:lnTo>
                    <a:pt x="157" y="109"/>
                  </a:lnTo>
                  <a:lnTo>
                    <a:pt x="159" y="121"/>
                  </a:lnTo>
                  <a:lnTo>
                    <a:pt x="164" y="126"/>
                  </a:lnTo>
                  <a:lnTo>
                    <a:pt x="176" y="131"/>
                  </a:lnTo>
                  <a:lnTo>
                    <a:pt x="183" y="131"/>
                  </a:lnTo>
                  <a:lnTo>
                    <a:pt x="193" y="133"/>
                  </a:lnTo>
                  <a:lnTo>
                    <a:pt x="197" y="133"/>
                  </a:lnTo>
                  <a:lnTo>
                    <a:pt x="200" y="128"/>
                  </a:lnTo>
                  <a:lnTo>
                    <a:pt x="202" y="117"/>
                  </a:lnTo>
                  <a:lnTo>
                    <a:pt x="197" y="112"/>
                  </a:lnTo>
                  <a:lnTo>
                    <a:pt x="188" y="109"/>
                  </a:lnTo>
                  <a:lnTo>
                    <a:pt x="183" y="107"/>
                  </a:lnTo>
                  <a:lnTo>
                    <a:pt x="181" y="102"/>
                  </a:lnTo>
                  <a:lnTo>
                    <a:pt x="176" y="95"/>
                  </a:lnTo>
                  <a:lnTo>
                    <a:pt x="169" y="90"/>
                  </a:lnTo>
                  <a:lnTo>
                    <a:pt x="166" y="86"/>
                  </a:lnTo>
                  <a:lnTo>
                    <a:pt x="171" y="81"/>
                  </a:lnTo>
                  <a:lnTo>
                    <a:pt x="174" y="76"/>
                  </a:lnTo>
                  <a:lnTo>
                    <a:pt x="169" y="64"/>
                  </a:lnTo>
                  <a:lnTo>
                    <a:pt x="162" y="62"/>
                  </a:lnTo>
                  <a:lnTo>
                    <a:pt x="155" y="59"/>
                  </a:lnTo>
                  <a:lnTo>
                    <a:pt x="155" y="55"/>
                  </a:lnTo>
                  <a:lnTo>
                    <a:pt x="150" y="50"/>
                  </a:lnTo>
                  <a:lnTo>
                    <a:pt x="145" y="50"/>
                  </a:lnTo>
                  <a:lnTo>
                    <a:pt x="145" y="45"/>
                  </a:lnTo>
                  <a:lnTo>
                    <a:pt x="140" y="43"/>
                  </a:lnTo>
                  <a:lnTo>
                    <a:pt x="133" y="38"/>
                  </a:lnTo>
                  <a:lnTo>
                    <a:pt x="124" y="36"/>
                  </a:lnTo>
                  <a:lnTo>
                    <a:pt x="117" y="33"/>
                  </a:lnTo>
                  <a:lnTo>
                    <a:pt x="107" y="29"/>
                  </a:lnTo>
                  <a:lnTo>
                    <a:pt x="98" y="24"/>
                  </a:lnTo>
                  <a:lnTo>
                    <a:pt x="90" y="19"/>
                  </a:lnTo>
                  <a:lnTo>
                    <a:pt x="86" y="14"/>
                  </a:lnTo>
                  <a:lnTo>
                    <a:pt x="79" y="12"/>
                  </a:lnTo>
                  <a:lnTo>
                    <a:pt x="69" y="12"/>
                  </a:lnTo>
                  <a:lnTo>
                    <a:pt x="64" y="17"/>
                  </a:lnTo>
                  <a:lnTo>
                    <a:pt x="59" y="19"/>
                  </a:lnTo>
                  <a:lnTo>
                    <a:pt x="52" y="24"/>
                  </a:lnTo>
                  <a:lnTo>
                    <a:pt x="50" y="29"/>
                  </a:lnTo>
                  <a:lnTo>
                    <a:pt x="48" y="33"/>
                  </a:lnTo>
                  <a:lnTo>
                    <a:pt x="43" y="29"/>
                  </a:lnTo>
                  <a:lnTo>
                    <a:pt x="36" y="24"/>
                  </a:lnTo>
                  <a:lnTo>
                    <a:pt x="36" y="14"/>
                  </a:lnTo>
                  <a:lnTo>
                    <a:pt x="38" y="9"/>
                  </a:lnTo>
                  <a:lnTo>
                    <a:pt x="36" y="5"/>
                  </a:lnTo>
                  <a:lnTo>
                    <a:pt x="33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20202;p275">
              <a:extLst>
                <a:ext uri="{FF2B5EF4-FFF2-40B4-BE49-F238E27FC236}">
                  <a16:creationId xmlns:a16="http://schemas.microsoft.com/office/drawing/2014/main" id="{024B32CF-3768-AD8C-9ADD-1E7217100C1E}"/>
                </a:ext>
              </a:extLst>
            </p:cNvPr>
            <p:cNvSpPr/>
            <p:nvPr/>
          </p:nvSpPr>
          <p:spPr>
            <a:xfrm>
              <a:off x="9142869" y="4254064"/>
              <a:ext cx="477572" cy="314441"/>
            </a:xfrm>
            <a:custGeom>
              <a:avLst/>
              <a:gdLst/>
              <a:ahLst/>
              <a:cxnLst/>
              <a:rect l="l" t="t" r="r" b="b"/>
              <a:pathLst>
                <a:path w="202" h="133" extrusionOk="0">
                  <a:moveTo>
                    <a:pt x="29" y="0"/>
                  </a:moveTo>
                  <a:lnTo>
                    <a:pt x="19" y="0"/>
                  </a:lnTo>
                  <a:lnTo>
                    <a:pt x="5" y="0"/>
                  </a:lnTo>
                  <a:lnTo>
                    <a:pt x="0" y="7"/>
                  </a:lnTo>
                  <a:lnTo>
                    <a:pt x="5" y="12"/>
                  </a:lnTo>
                  <a:lnTo>
                    <a:pt x="14" y="17"/>
                  </a:lnTo>
                  <a:lnTo>
                    <a:pt x="19" y="19"/>
                  </a:lnTo>
                  <a:lnTo>
                    <a:pt x="19" y="24"/>
                  </a:lnTo>
                  <a:lnTo>
                    <a:pt x="14" y="24"/>
                  </a:lnTo>
                  <a:lnTo>
                    <a:pt x="7" y="26"/>
                  </a:lnTo>
                  <a:lnTo>
                    <a:pt x="7" y="33"/>
                  </a:lnTo>
                  <a:lnTo>
                    <a:pt x="12" y="40"/>
                  </a:lnTo>
                  <a:lnTo>
                    <a:pt x="17" y="45"/>
                  </a:lnTo>
                  <a:lnTo>
                    <a:pt x="21" y="45"/>
                  </a:lnTo>
                  <a:lnTo>
                    <a:pt x="26" y="43"/>
                  </a:lnTo>
                  <a:lnTo>
                    <a:pt x="31" y="40"/>
                  </a:lnTo>
                  <a:lnTo>
                    <a:pt x="40" y="45"/>
                  </a:lnTo>
                  <a:lnTo>
                    <a:pt x="50" y="50"/>
                  </a:lnTo>
                  <a:lnTo>
                    <a:pt x="64" y="55"/>
                  </a:lnTo>
                  <a:lnTo>
                    <a:pt x="71" y="59"/>
                  </a:lnTo>
                  <a:lnTo>
                    <a:pt x="74" y="69"/>
                  </a:lnTo>
                  <a:lnTo>
                    <a:pt x="71" y="76"/>
                  </a:lnTo>
                  <a:lnTo>
                    <a:pt x="71" y="83"/>
                  </a:lnTo>
                  <a:lnTo>
                    <a:pt x="69" y="90"/>
                  </a:lnTo>
                  <a:lnTo>
                    <a:pt x="67" y="98"/>
                  </a:lnTo>
                  <a:lnTo>
                    <a:pt x="71" y="100"/>
                  </a:lnTo>
                  <a:lnTo>
                    <a:pt x="83" y="100"/>
                  </a:lnTo>
                  <a:lnTo>
                    <a:pt x="90" y="105"/>
                  </a:lnTo>
                  <a:lnTo>
                    <a:pt x="98" y="109"/>
                  </a:lnTo>
                  <a:lnTo>
                    <a:pt x="109" y="109"/>
                  </a:lnTo>
                  <a:lnTo>
                    <a:pt x="124" y="109"/>
                  </a:lnTo>
                  <a:lnTo>
                    <a:pt x="131" y="102"/>
                  </a:lnTo>
                  <a:lnTo>
                    <a:pt x="136" y="98"/>
                  </a:lnTo>
                  <a:lnTo>
                    <a:pt x="145" y="98"/>
                  </a:lnTo>
                  <a:lnTo>
                    <a:pt x="152" y="102"/>
                  </a:lnTo>
                  <a:lnTo>
                    <a:pt x="157" y="109"/>
                  </a:lnTo>
                  <a:lnTo>
                    <a:pt x="159" y="121"/>
                  </a:lnTo>
                  <a:lnTo>
                    <a:pt x="164" y="126"/>
                  </a:lnTo>
                  <a:lnTo>
                    <a:pt x="176" y="131"/>
                  </a:lnTo>
                  <a:lnTo>
                    <a:pt x="183" y="131"/>
                  </a:lnTo>
                  <a:lnTo>
                    <a:pt x="193" y="133"/>
                  </a:lnTo>
                  <a:lnTo>
                    <a:pt x="197" y="133"/>
                  </a:lnTo>
                  <a:lnTo>
                    <a:pt x="200" y="128"/>
                  </a:lnTo>
                  <a:lnTo>
                    <a:pt x="202" y="117"/>
                  </a:lnTo>
                  <a:lnTo>
                    <a:pt x="197" y="112"/>
                  </a:lnTo>
                  <a:lnTo>
                    <a:pt x="188" y="109"/>
                  </a:lnTo>
                  <a:lnTo>
                    <a:pt x="183" y="107"/>
                  </a:lnTo>
                  <a:lnTo>
                    <a:pt x="181" y="102"/>
                  </a:lnTo>
                  <a:lnTo>
                    <a:pt x="176" y="95"/>
                  </a:lnTo>
                  <a:lnTo>
                    <a:pt x="169" y="90"/>
                  </a:lnTo>
                  <a:lnTo>
                    <a:pt x="166" y="86"/>
                  </a:lnTo>
                  <a:lnTo>
                    <a:pt x="171" y="81"/>
                  </a:lnTo>
                  <a:lnTo>
                    <a:pt x="174" y="76"/>
                  </a:lnTo>
                  <a:lnTo>
                    <a:pt x="169" y="64"/>
                  </a:lnTo>
                  <a:lnTo>
                    <a:pt x="162" y="62"/>
                  </a:lnTo>
                  <a:lnTo>
                    <a:pt x="155" y="59"/>
                  </a:lnTo>
                  <a:lnTo>
                    <a:pt x="155" y="55"/>
                  </a:lnTo>
                  <a:lnTo>
                    <a:pt x="150" y="50"/>
                  </a:lnTo>
                  <a:lnTo>
                    <a:pt x="145" y="50"/>
                  </a:lnTo>
                  <a:lnTo>
                    <a:pt x="145" y="45"/>
                  </a:lnTo>
                  <a:lnTo>
                    <a:pt x="140" y="43"/>
                  </a:lnTo>
                  <a:lnTo>
                    <a:pt x="133" y="38"/>
                  </a:lnTo>
                  <a:lnTo>
                    <a:pt x="124" y="36"/>
                  </a:lnTo>
                  <a:lnTo>
                    <a:pt x="117" y="33"/>
                  </a:lnTo>
                  <a:lnTo>
                    <a:pt x="107" y="29"/>
                  </a:lnTo>
                  <a:lnTo>
                    <a:pt x="98" y="24"/>
                  </a:lnTo>
                  <a:lnTo>
                    <a:pt x="90" y="19"/>
                  </a:lnTo>
                  <a:lnTo>
                    <a:pt x="86" y="14"/>
                  </a:lnTo>
                  <a:lnTo>
                    <a:pt x="79" y="12"/>
                  </a:lnTo>
                  <a:lnTo>
                    <a:pt x="69" y="12"/>
                  </a:lnTo>
                  <a:lnTo>
                    <a:pt x="64" y="17"/>
                  </a:lnTo>
                  <a:lnTo>
                    <a:pt x="59" y="19"/>
                  </a:lnTo>
                  <a:lnTo>
                    <a:pt x="52" y="24"/>
                  </a:lnTo>
                  <a:lnTo>
                    <a:pt x="50" y="29"/>
                  </a:lnTo>
                  <a:lnTo>
                    <a:pt x="48" y="33"/>
                  </a:lnTo>
                  <a:lnTo>
                    <a:pt x="43" y="29"/>
                  </a:lnTo>
                  <a:lnTo>
                    <a:pt x="36" y="24"/>
                  </a:lnTo>
                  <a:lnTo>
                    <a:pt x="36" y="14"/>
                  </a:lnTo>
                  <a:lnTo>
                    <a:pt x="38" y="9"/>
                  </a:lnTo>
                  <a:lnTo>
                    <a:pt x="36" y="5"/>
                  </a:lnTo>
                  <a:lnTo>
                    <a:pt x="33" y="0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20203;p275">
              <a:extLst>
                <a:ext uri="{FF2B5EF4-FFF2-40B4-BE49-F238E27FC236}">
                  <a16:creationId xmlns:a16="http://schemas.microsoft.com/office/drawing/2014/main" id="{AEC5EA96-0F2B-6C5B-D957-4FACA902796B}"/>
                </a:ext>
              </a:extLst>
            </p:cNvPr>
            <p:cNvSpPr/>
            <p:nvPr/>
          </p:nvSpPr>
          <p:spPr>
            <a:xfrm>
              <a:off x="8592006" y="4563776"/>
              <a:ext cx="966966" cy="855846"/>
            </a:xfrm>
            <a:custGeom>
              <a:avLst/>
              <a:gdLst/>
              <a:ahLst/>
              <a:cxnLst/>
              <a:rect l="l" t="t" r="r" b="b"/>
              <a:pathLst>
                <a:path w="172" h="152" extrusionOk="0">
                  <a:moveTo>
                    <a:pt x="145" y="0"/>
                  </a:moveTo>
                  <a:cubicBezTo>
                    <a:pt x="143" y="2"/>
                    <a:pt x="143" y="2"/>
                    <a:pt x="143" y="2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8" y="19"/>
                    <a:pt x="138" y="19"/>
                    <a:pt x="138" y="19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5" y="12"/>
                    <a:pt x="115" y="12"/>
                    <a:pt x="115" y="12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4" y="6"/>
                    <a:pt x="114" y="6"/>
                    <a:pt x="114" y="6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20" y="125"/>
                    <a:pt x="20" y="125"/>
                    <a:pt x="20" y="125"/>
                  </a:cubicBezTo>
                  <a:cubicBezTo>
                    <a:pt x="25" y="123"/>
                    <a:pt x="25" y="123"/>
                    <a:pt x="25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49" y="118"/>
                    <a:pt x="49" y="118"/>
                    <a:pt x="49" y="118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81" y="113"/>
                    <a:pt x="81" y="113"/>
                    <a:pt x="81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8" y="125"/>
                    <a:pt x="88" y="125"/>
                    <a:pt x="88" y="125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93" y="123"/>
                    <a:pt x="93" y="123"/>
                    <a:pt x="93" y="123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7" y="119"/>
                    <a:pt x="97" y="119"/>
                    <a:pt x="97" y="119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0" y="120"/>
                    <a:pt x="100" y="120"/>
                    <a:pt x="100" y="120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7" y="123"/>
                    <a:pt x="97" y="123"/>
                    <a:pt x="97" y="123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2" y="126"/>
                    <a:pt x="92" y="126"/>
                    <a:pt x="92" y="126"/>
                  </a:cubicBezTo>
                  <a:cubicBezTo>
                    <a:pt x="91" y="128"/>
                    <a:pt x="91" y="128"/>
                    <a:pt x="91" y="128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96" y="130"/>
                    <a:pt x="96" y="130"/>
                    <a:pt x="96" y="130"/>
                  </a:cubicBezTo>
                  <a:cubicBezTo>
                    <a:pt x="97" y="130"/>
                    <a:pt x="97" y="130"/>
                    <a:pt x="97" y="130"/>
                  </a:cubicBezTo>
                  <a:cubicBezTo>
                    <a:pt x="98" y="131"/>
                    <a:pt x="98" y="131"/>
                    <a:pt x="98" y="131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9" y="143"/>
                    <a:pt x="99" y="143"/>
                    <a:pt x="99" y="143"/>
                  </a:cubicBezTo>
                  <a:cubicBezTo>
                    <a:pt x="100" y="146"/>
                    <a:pt x="100" y="146"/>
                    <a:pt x="100" y="146"/>
                  </a:cubicBezTo>
                  <a:cubicBezTo>
                    <a:pt x="103" y="147"/>
                    <a:pt x="103" y="147"/>
                    <a:pt x="103" y="147"/>
                  </a:cubicBezTo>
                  <a:cubicBezTo>
                    <a:pt x="105" y="146"/>
                    <a:pt x="105" y="146"/>
                    <a:pt x="105" y="146"/>
                  </a:cubicBezTo>
                  <a:cubicBezTo>
                    <a:pt x="106" y="148"/>
                    <a:pt x="106" y="148"/>
                    <a:pt x="106" y="148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11" y="149"/>
                    <a:pt x="111" y="149"/>
                    <a:pt x="111" y="149"/>
                  </a:cubicBezTo>
                  <a:cubicBezTo>
                    <a:pt x="114" y="148"/>
                    <a:pt x="114" y="148"/>
                    <a:pt x="114" y="148"/>
                  </a:cubicBezTo>
                  <a:cubicBezTo>
                    <a:pt x="116" y="147"/>
                    <a:pt x="116" y="147"/>
                    <a:pt x="116" y="147"/>
                  </a:cubicBezTo>
                  <a:cubicBezTo>
                    <a:pt x="117" y="148"/>
                    <a:pt x="117" y="148"/>
                    <a:pt x="117" y="148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122" y="152"/>
                    <a:pt x="122" y="152"/>
                    <a:pt x="122" y="152"/>
                  </a:cubicBezTo>
                  <a:cubicBezTo>
                    <a:pt x="125" y="150"/>
                    <a:pt x="125" y="150"/>
                    <a:pt x="125" y="150"/>
                  </a:cubicBezTo>
                  <a:cubicBezTo>
                    <a:pt x="126" y="147"/>
                    <a:pt x="126" y="147"/>
                    <a:pt x="126" y="147"/>
                  </a:cubicBezTo>
                  <a:cubicBezTo>
                    <a:pt x="129" y="146"/>
                    <a:pt x="129" y="146"/>
                    <a:pt x="129" y="146"/>
                  </a:cubicBezTo>
                  <a:cubicBezTo>
                    <a:pt x="133" y="146"/>
                    <a:pt x="133" y="146"/>
                    <a:pt x="133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9" y="145"/>
                    <a:pt x="139" y="145"/>
                    <a:pt x="139" y="145"/>
                  </a:cubicBezTo>
                  <a:cubicBezTo>
                    <a:pt x="142" y="143"/>
                    <a:pt x="142" y="143"/>
                    <a:pt x="142" y="143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6" y="136"/>
                    <a:pt x="146" y="136"/>
                    <a:pt x="146" y="136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7" y="120"/>
                    <a:pt x="157" y="120"/>
                    <a:pt x="157" y="120"/>
                  </a:cubicBezTo>
                  <a:cubicBezTo>
                    <a:pt x="160" y="114"/>
                    <a:pt x="160" y="114"/>
                    <a:pt x="16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67" y="103"/>
                    <a:pt x="167" y="103"/>
                    <a:pt x="167" y="103"/>
                  </a:cubicBezTo>
                  <a:cubicBezTo>
                    <a:pt x="171" y="96"/>
                    <a:pt x="171" y="96"/>
                    <a:pt x="171" y="96"/>
                  </a:cubicBezTo>
                  <a:cubicBezTo>
                    <a:pt x="172" y="88"/>
                    <a:pt x="172" y="88"/>
                    <a:pt x="172" y="88"/>
                  </a:cubicBezTo>
                  <a:cubicBezTo>
                    <a:pt x="172" y="73"/>
                    <a:pt x="172" y="73"/>
                    <a:pt x="172" y="73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68" y="62"/>
                    <a:pt x="168" y="62"/>
                    <a:pt x="168" y="62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6" y="56"/>
                    <a:pt x="166" y="56"/>
                    <a:pt x="166" y="56"/>
                  </a:cubicBezTo>
                  <a:cubicBezTo>
                    <a:pt x="166" y="56"/>
                    <a:pt x="166" y="53"/>
                    <a:pt x="166" y="52"/>
                  </a:cubicBezTo>
                  <a:cubicBezTo>
                    <a:pt x="166" y="52"/>
                    <a:pt x="165" y="49"/>
                    <a:pt x="165" y="49"/>
                  </a:cubicBezTo>
                  <a:cubicBezTo>
                    <a:pt x="163" y="47"/>
                    <a:pt x="163" y="47"/>
                    <a:pt x="163" y="47"/>
                  </a:cubicBezTo>
                  <a:cubicBezTo>
                    <a:pt x="159" y="46"/>
                    <a:pt x="159" y="46"/>
                    <a:pt x="159" y="46"/>
                  </a:cubicBezTo>
                  <a:cubicBezTo>
                    <a:pt x="157" y="43"/>
                    <a:pt x="157" y="43"/>
                    <a:pt x="157" y="43"/>
                  </a:cubicBezTo>
                  <a:cubicBezTo>
                    <a:pt x="157" y="40"/>
                    <a:pt x="157" y="40"/>
                    <a:pt x="157" y="40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8" y="34"/>
                    <a:pt x="158" y="34"/>
                    <a:pt x="158" y="34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5"/>
                    <a:pt x="155" y="25"/>
                    <a:pt x="155" y="25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3" y="20"/>
                    <a:pt x="153" y="20"/>
                    <a:pt x="153" y="20"/>
                  </a:cubicBezTo>
                  <a:cubicBezTo>
                    <a:pt x="151" y="20"/>
                    <a:pt x="151" y="20"/>
                    <a:pt x="151" y="20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47" y="19"/>
                    <a:pt x="147" y="19"/>
                    <a:pt x="147" y="19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5" y="0"/>
                    <a:pt x="145" y="0"/>
                    <a:pt x="145" y="0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20204;p275">
              <a:extLst>
                <a:ext uri="{FF2B5EF4-FFF2-40B4-BE49-F238E27FC236}">
                  <a16:creationId xmlns:a16="http://schemas.microsoft.com/office/drawing/2014/main" id="{D35F278D-7331-C6FC-C257-4F5176DF16B4}"/>
                </a:ext>
              </a:extLst>
            </p:cNvPr>
            <p:cNvSpPr/>
            <p:nvPr/>
          </p:nvSpPr>
          <p:spPr>
            <a:xfrm>
              <a:off x="9199610" y="5485821"/>
              <a:ext cx="94569" cy="73291"/>
            </a:xfrm>
            <a:custGeom>
              <a:avLst/>
              <a:gdLst/>
              <a:ahLst/>
              <a:cxnLst/>
              <a:rect l="l" t="t" r="r" b="b"/>
              <a:pathLst>
                <a:path w="40" h="31" extrusionOk="0">
                  <a:moveTo>
                    <a:pt x="9" y="0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2" y="29"/>
                  </a:lnTo>
                  <a:lnTo>
                    <a:pt x="7" y="31"/>
                  </a:lnTo>
                  <a:lnTo>
                    <a:pt x="12" y="31"/>
                  </a:lnTo>
                  <a:lnTo>
                    <a:pt x="16" y="29"/>
                  </a:lnTo>
                  <a:lnTo>
                    <a:pt x="21" y="26"/>
                  </a:lnTo>
                  <a:lnTo>
                    <a:pt x="26" y="24"/>
                  </a:lnTo>
                  <a:lnTo>
                    <a:pt x="28" y="19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0" y="5"/>
                  </a:lnTo>
                  <a:lnTo>
                    <a:pt x="38" y="3"/>
                  </a:lnTo>
                  <a:lnTo>
                    <a:pt x="33" y="3"/>
                  </a:lnTo>
                  <a:lnTo>
                    <a:pt x="26" y="3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20205;p275">
              <a:extLst>
                <a:ext uri="{FF2B5EF4-FFF2-40B4-BE49-F238E27FC236}">
                  <a16:creationId xmlns:a16="http://schemas.microsoft.com/office/drawing/2014/main" id="{3A82EB18-227A-2CB4-D09B-370C48D82678}"/>
                </a:ext>
              </a:extLst>
            </p:cNvPr>
            <p:cNvSpPr/>
            <p:nvPr/>
          </p:nvSpPr>
          <p:spPr>
            <a:xfrm>
              <a:off x="9199610" y="5485821"/>
              <a:ext cx="94569" cy="73291"/>
            </a:xfrm>
            <a:custGeom>
              <a:avLst/>
              <a:gdLst/>
              <a:ahLst/>
              <a:cxnLst/>
              <a:rect l="l" t="t" r="r" b="b"/>
              <a:pathLst>
                <a:path w="40" h="31" extrusionOk="0">
                  <a:moveTo>
                    <a:pt x="9" y="0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2" y="29"/>
                  </a:lnTo>
                  <a:lnTo>
                    <a:pt x="7" y="31"/>
                  </a:lnTo>
                  <a:lnTo>
                    <a:pt x="12" y="31"/>
                  </a:lnTo>
                  <a:lnTo>
                    <a:pt x="16" y="29"/>
                  </a:lnTo>
                  <a:lnTo>
                    <a:pt x="21" y="26"/>
                  </a:lnTo>
                  <a:lnTo>
                    <a:pt x="26" y="24"/>
                  </a:lnTo>
                  <a:lnTo>
                    <a:pt x="28" y="19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40" y="10"/>
                  </a:lnTo>
                  <a:lnTo>
                    <a:pt x="40" y="5"/>
                  </a:lnTo>
                  <a:lnTo>
                    <a:pt x="38" y="3"/>
                  </a:lnTo>
                  <a:lnTo>
                    <a:pt x="33" y="3"/>
                  </a:lnTo>
                  <a:lnTo>
                    <a:pt x="26" y="3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20206;p275">
              <a:extLst>
                <a:ext uri="{FF2B5EF4-FFF2-40B4-BE49-F238E27FC236}">
                  <a16:creationId xmlns:a16="http://schemas.microsoft.com/office/drawing/2014/main" id="{50CCC181-3C1B-84A0-359D-239A4EC35D09}"/>
                </a:ext>
              </a:extLst>
            </p:cNvPr>
            <p:cNvSpPr/>
            <p:nvPr/>
          </p:nvSpPr>
          <p:spPr>
            <a:xfrm>
              <a:off x="6795199" y="1856749"/>
              <a:ext cx="208051" cy="196230"/>
            </a:xfrm>
            <a:custGeom>
              <a:avLst/>
              <a:gdLst/>
              <a:ahLst/>
              <a:cxnLst/>
              <a:rect l="l" t="t" r="r" b="b"/>
              <a:pathLst>
                <a:path w="88" h="83" extrusionOk="0">
                  <a:moveTo>
                    <a:pt x="86" y="0"/>
                  </a:moveTo>
                  <a:lnTo>
                    <a:pt x="74" y="0"/>
                  </a:lnTo>
                  <a:lnTo>
                    <a:pt x="55" y="3"/>
                  </a:lnTo>
                  <a:lnTo>
                    <a:pt x="41" y="3"/>
                  </a:lnTo>
                  <a:lnTo>
                    <a:pt x="31" y="5"/>
                  </a:lnTo>
                  <a:lnTo>
                    <a:pt x="22" y="10"/>
                  </a:lnTo>
                  <a:lnTo>
                    <a:pt x="17" y="17"/>
                  </a:lnTo>
                  <a:lnTo>
                    <a:pt x="12" y="19"/>
                  </a:lnTo>
                  <a:lnTo>
                    <a:pt x="5" y="19"/>
                  </a:lnTo>
                  <a:lnTo>
                    <a:pt x="3" y="26"/>
                  </a:lnTo>
                  <a:lnTo>
                    <a:pt x="7" y="31"/>
                  </a:lnTo>
                  <a:lnTo>
                    <a:pt x="10" y="38"/>
                  </a:lnTo>
                  <a:lnTo>
                    <a:pt x="10" y="43"/>
                  </a:lnTo>
                  <a:lnTo>
                    <a:pt x="7" y="50"/>
                  </a:lnTo>
                  <a:lnTo>
                    <a:pt x="7" y="55"/>
                  </a:lnTo>
                  <a:lnTo>
                    <a:pt x="3" y="57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7" y="67"/>
                  </a:lnTo>
                  <a:lnTo>
                    <a:pt x="17" y="67"/>
                  </a:lnTo>
                  <a:lnTo>
                    <a:pt x="26" y="67"/>
                  </a:lnTo>
                  <a:lnTo>
                    <a:pt x="31" y="72"/>
                  </a:lnTo>
                  <a:lnTo>
                    <a:pt x="33" y="76"/>
                  </a:lnTo>
                  <a:lnTo>
                    <a:pt x="36" y="81"/>
                  </a:lnTo>
                  <a:lnTo>
                    <a:pt x="45" y="81"/>
                  </a:lnTo>
                  <a:lnTo>
                    <a:pt x="50" y="83"/>
                  </a:lnTo>
                  <a:lnTo>
                    <a:pt x="57" y="83"/>
                  </a:lnTo>
                  <a:lnTo>
                    <a:pt x="62" y="81"/>
                  </a:lnTo>
                  <a:lnTo>
                    <a:pt x="64" y="79"/>
                  </a:lnTo>
                  <a:lnTo>
                    <a:pt x="62" y="74"/>
                  </a:lnTo>
                  <a:lnTo>
                    <a:pt x="55" y="69"/>
                  </a:lnTo>
                  <a:lnTo>
                    <a:pt x="45" y="67"/>
                  </a:lnTo>
                  <a:lnTo>
                    <a:pt x="36" y="60"/>
                  </a:lnTo>
                  <a:lnTo>
                    <a:pt x="31" y="50"/>
                  </a:lnTo>
                  <a:lnTo>
                    <a:pt x="29" y="45"/>
                  </a:lnTo>
                  <a:lnTo>
                    <a:pt x="24" y="43"/>
                  </a:lnTo>
                  <a:lnTo>
                    <a:pt x="17" y="43"/>
                  </a:lnTo>
                  <a:lnTo>
                    <a:pt x="14" y="41"/>
                  </a:lnTo>
                  <a:lnTo>
                    <a:pt x="19" y="38"/>
                  </a:lnTo>
                  <a:lnTo>
                    <a:pt x="29" y="38"/>
                  </a:lnTo>
                  <a:lnTo>
                    <a:pt x="36" y="38"/>
                  </a:lnTo>
                  <a:lnTo>
                    <a:pt x="41" y="34"/>
                  </a:lnTo>
                  <a:lnTo>
                    <a:pt x="43" y="26"/>
                  </a:lnTo>
                  <a:lnTo>
                    <a:pt x="50" y="22"/>
                  </a:lnTo>
                  <a:lnTo>
                    <a:pt x="60" y="22"/>
                  </a:lnTo>
                  <a:lnTo>
                    <a:pt x="67" y="17"/>
                  </a:lnTo>
                  <a:lnTo>
                    <a:pt x="79" y="12"/>
                  </a:lnTo>
                  <a:lnTo>
                    <a:pt x="86" y="7"/>
                  </a:lnTo>
                  <a:lnTo>
                    <a:pt x="88" y="5"/>
                  </a:ln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20207;p275">
              <a:extLst>
                <a:ext uri="{FF2B5EF4-FFF2-40B4-BE49-F238E27FC236}">
                  <a16:creationId xmlns:a16="http://schemas.microsoft.com/office/drawing/2014/main" id="{BC81E9BA-AB46-7E6D-9B7A-775982DC8E3E}"/>
                </a:ext>
              </a:extLst>
            </p:cNvPr>
            <p:cNvSpPr/>
            <p:nvPr/>
          </p:nvSpPr>
          <p:spPr>
            <a:xfrm>
              <a:off x="6795199" y="1856749"/>
              <a:ext cx="208051" cy="196230"/>
            </a:xfrm>
            <a:custGeom>
              <a:avLst/>
              <a:gdLst/>
              <a:ahLst/>
              <a:cxnLst/>
              <a:rect l="l" t="t" r="r" b="b"/>
              <a:pathLst>
                <a:path w="88" h="83" extrusionOk="0">
                  <a:moveTo>
                    <a:pt x="86" y="0"/>
                  </a:moveTo>
                  <a:lnTo>
                    <a:pt x="74" y="0"/>
                  </a:lnTo>
                  <a:lnTo>
                    <a:pt x="55" y="3"/>
                  </a:lnTo>
                  <a:lnTo>
                    <a:pt x="41" y="3"/>
                  </a:lnTo>
                  <a:lnTo>
                    <a:pt x="31" y="5"/>
                  </a:lnTo>
                  <a:lnTo>
                    <a:pt x="22" y="10"/>
                  </a:lnTo>
                  <a:lnTo>
                    <a:pt x="17" y="17"/>
                  </a:lnTo>
                  <a:lnTo>
                    <a:pt x="12" y="19"/>
                  </a:lnTo>
                  <a:lnTo>
                    <a:pt x="5" y="19"/>
                  </a:lnTo>
                  <a:lnTo>
                    <a:pt x="3" y="26"/>
                  </a:lnTo>
                  <a:lnTo>
                    <a:pt x="7" y="31"/>
                  </a:lnTo>
                  <a:lnTo>
                    <a:pt x="10" y="38"/>
                  </a:lnTo>
                  <a:lnTo>
                    <a:pt x="10" y="43"/>
                  </a:lnTo>
                  <a:lnTo>
                    <a:pt x="7" y="50"/>
                  </a:lnTo>
                  <a:lnTo>
                    <a:pt x="7" y="55"/>
                  </a:lnTo>
                  <a:lnTo>
                    <a:pt x="3" y="57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7" y="67"/>
                  </a:lnTo>
                  <a:lnTo>
                    <a:pt x="17" y="67"/>
                  </a:lnTo>
                  <a:lnTo>
                    <a:pt x="26" y="67"/>
                  </a:lnTo>
                  <a:lnTo>
                    <a:pt x="31" y="72"/>
                  </a:lnTo>
                  <a:lnTo>
                    <a:pt x="33" y="76"/>
                  </a:lnTo>
                  <a:lnTo>
                    <a:pt x="36" y="81"/>
                  </a:lnTo>
                  <a:lnTo>
                    <a:pt x="45" y="81"/>
                  </a:lnTo>
                  <a:lnTo>
                    <a:pt x="50" y="83"/>
                  </a:lnTo>
                  <a:lnTo>
                    <a:pt x="57" y="83"/>
                  </a:lnTo>
                  <a:lnTo>
                    <a:pt x="62" y="81"/>
                  </a:lnTo>
                  <a:lnTo>
                    <a:pt x="64" y="79"/>
                  </a:lnTo>
                  <a:lnTo>
                    <a:pt x="62" y="74"/>
                  </a:lnTo>
                  <a:lnTo>
                    <a:pt x="55" y="69"/>
                  </a:lnTo>
                  <a:lnTo>
                    <a:pt x="45" y="67"/>
                  </a:lnTo>
                  <a:lnTo>
                    <a:pt x="36" y="60"/>
                  </a:lnTo>
                  <a:lnTo>
                    <a:pt x="31" y="50"/>
                  </a:lnTo>
                  <a:lnTo>
                    <a:pt x="29" y="45"/>
                  </a:lnTo>
                  <a:lnTo>
                    <a:pt x="24" y="43"/>
                  </a:lnTo>
                  <a:lnTo>
                    <a:pt x="17" y="43"/>
                  </a:lnTo>
                  <a:lnTo>
                    <a:pt x="14" y="41"/>
                  </a:lnTo>
                  <a:lnTo>
                    <a:pt x="19" y="38"/>
                  </a:lnTo>
                  <a:lnTo>
                    <a:pt x="29" y="38"/>
                  </a:lnTo>
                  <a:lnTo>
                    <a:pt x="36" y="38"/>
                  </a:lnTo>
                  <a:lnTo>
                    <a:pt x="41" y="34"/>
                  </a:lnTo>
                  <a:lnTo>
                    <a:pt x="43" y="26"/>
                  </a:lnTo>
                  <a:lnTo>
                    <a:pt x="50" y="22"/>
                  </a:lnTo>
                  <a:lnTo>
                    <a:pt x="60" y="22"/>
                  </a:lnTo>
                  <a:lnTo>
                    <a:pt x="67" y="17"/>
                  </a:lnTo>
                  <a:lnTo>
                    <a:pt x="79" y="12"/>
                  </a:lnTo>
                  <a:lnTo>
                    <a:pt x="86" y="7"/>
                  </a:lnTo>
                  <a:lnTo>
                    <a:pt x="88" y="5"/>
                  </a:lnTo>
                  <a:lnTo>
                    <a:pt x="86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20208;p275">
              <a:extLst>
                <a:ext uri="{FF2B5EF4-FFF2-40B4-BE49-F238E27FC236}">
                  <a16:creationId xmlns:a16="http://schemas.microsoft.com/office/drawing/2014/main" id="{E080B0AE-397D-0078-F3F6-C8BA4CBAF841}"/>
                </a:ext>
              </a:extLst>
            </p:cNvPr>
            <p:cNvSpPr/>
            <p:nvPr/>
          </p:nvSpPr>
          <p:spPr>
            <a:xfrm>
              <a:off x="4724142" y="1632148"/>
              <a:ext cx="1021343" cy="692715"/>
            </a:xfrm>
            <a:custGeom>
              <a:avLst/>
              <a:gdLst/>
              <a:ahLst/>
              <a:cxnLst/>
              <a:rect l="l" t="t" r="r" b="b"/>
              <a:pathLst>
                <a:path w="432" h="293" extrusionOk="0">
                  <a:moveTo>
                    <a:pt x="306" y="31"/>
                  </a:moveTo>
                  <a:lnTo>
                    <a:pt x="292" y="29"/>
                  </a:lnTo>
                  <a:lnTo>
                    <a:pt x="297" y="21"/>
                  </a:lnTo>
                  <a:lnTo>
                    <a:pt x="316" y="19"/>
                  </a:lnTo>
                  <a:lnTo>
                    <a:pt x="335" y="19"/>
                  </a:lnTo>
                  <a:lnTo>
                    <a:pt x="325" y="26"/>
                  </a:lnTo>
                  <a:lnTo>
                    <a:pt x="306" y="31"/>
                  </a:lnTo>
                  <a:close/>
                  <a:moveTo>
                    <a:pt x="387" y="0"/>
                  </a:moveTo>
                  <a:lnTo>
                    <a:pt x="373" y="2"/>
                  </a:lnTo>
                  <a:lnTo>
                    <a:pt x="368" y="5"/>
                  </a:lnTo>
                  <a:lnTo>
                    <a:pt x="354" y="7"/>
                  </a:lnTo>
                  <a:lnTo>
                    <a:pt x="344" y="7"/>
                  </a:lnTo>
                  <a:lnTo>
                    <a:pt x="335" y="5"/>
                  </a:lnTo>
                  <a:lnTo>
                    <a:pt x="330" y="2"/>
                  </a:lnTo>
                  <a:lnTo>
                    <a:pt x="325" y="2"/>
                  </a:lnTo>
                  <a:lnTo>
                    <a:pt x="318" y="12"/>
                  </a:lnTo>
                  <a:lnTo>
                    <a:pt x="304" y="12"/>
                  </a:lnTo>
                  <a:lnTo>
                    <a:pt x="299" y="10"/>
                  </a:lnTo>
                  <a:lnTo>
                    <a:pt x="294" y="10"/>
                  </a:lnTo>
                  <a:lnTo>
                    <a:pt x="285" y="14"/>
                  </a:lnTo>
                  <a:lnTo>
                    <a:pt x="275" y="17"/>
                  </a:lnTo>
                  <a:lnTo>
                    <a:pt x="270" y="19"/>
                  </a:lnTo>
                  <a:lnTo>
                    <a:pt x="266" y="26"/>
                  </a:lnTo>
                  <a:lnTo>
                    <a:pt x="259" y="26"/>
                  </a:lnTo>
                  <a:lnTo>
                    <a:pt x="256" y="21"/>
                  </a:lnTo>
                  <a:lnTo>
                    <a:pt x="259" y="17"/>
                  </a:lnTo>
                  <a:lnTo>
                    <a:pt x="249" y="14"/>
                  </a:lnTo>
                  <a:lnTo>
                    <a:pt x="240" y="19"/>
                  </a:lnTo>
                  <a:lnTo>
                    <a:pt x="230" y="29"/>
                  </a:lnTo>
                  <a:lnTo>
                    <a:pt x="206" y="29"/>
                  </a:lnTo>
                  <a:lnTo>
                    <a:pt x="206" y="24"/>
                  </a:lnTo>
                  <a:lnTo>
                    <a:pt x="216" y="17"/>
                  </a:lnTo>
                  <a:lnTo>
                    <a:pt x="211" y="14"/>
                  </a:lnTo>
                  <a:lnTo>
                    <a:pt x="202" y="17"/>
                  </a:lnTo>
                  <a:lnTo>
                    <a:pt x="187" y="21"/>
                  </a:lnTo>
                  <a:lnTo>
                    <a:pt x="159" y="24"/>
                  </a:lnTo>
                  <a:lnTo>
                    <a:pt x="149" y="26"/>
                  </a:lnTo>
                  <a:lnTo>
                    <a:pt x="142" y="33"/>
                  </a:lnTo>
                  <a:lnTo>
                    <a:pt x="140" y="36"/>
                  </a:lnTo>
                  <a:lnTo>
                    <a:pt x="118" y="36"/>
                  </a:lnTo>
                  <a:lnTo>
                    <a:pt x="102" y="38"/>
                  </a:lnTo>
                  <a:lnTo>
                    <a:pt x="95" y="43"/>
                  </a:lnTo>
                  <a:lnTo>
                    <a:pt x="95" y="52"/>
                  </a:lnTo>
                  <a:lnTo>
                    <a:pt x="85" y="57"/>
                  </a:lnTo>
                  <a:lnTo>
                    <a:pt x="66" y="57"/>
                  </a:lnTo>
                  <a:lnTo>
                    <a:pt x="52" y="62"/>
                  </a:lnTo>
                  <a:lnTo>
                    <a:pt x="28" y="60"/>
                  </a:lnTo>
                  <a:lnTo>
                    <a:pt x="21" y="62"/>
                  </a:lnTo>
                  <a:lnTo>
                    <a:pt x="19" y="71"/>
                  </a:lnTo>
                  <a:lnTo>
                    <a:pt x="21" y="74"/>
                  </a:lnTo>
                  <a:lnTo>
                    <a:pt x="38" y="74"/>
                  </a:lnTo>
                  <a:lnTo>
                    <a:pt x="45" y="76"/>
                  </a:lnTo>
                  <a:lnTo>
                    <a:pt x="45" y="79"/>
                  </a:lnTo>
                  <a:lnTo>
                    <a:pt x="35" y="81"/>
                  </a:lnTo>
                  <a:lnTo>
                    <a:pt x="21" y="79"/>
                  </a:lnTo>
                  <a:lnTo>
                    <a:pt x="9" y="81"/>
                  </a:lnTo>
                  <a:lnTo>
                    <a:pt x="2" y="86"/>
                  </a:lnTo>
                  <a:lnTo>
                    <a:pt x="2" y="93"/>
                  </a:lnTo>
                  <a:lnTo>
                    <a:pt x="7" y="95"/>
                  </a:lnTo>
                  <a:lnTo>
                    <a:pt x="21" y="95"/>
                  </a:lnTo>
                  <a:lnTo>
                    <a:pt x="31" y="90"/>
                  </a:lnTo>
                  <a:lnTo>
                    <a:pt x="38" y="90"/>
                  </a:lnTo>
                  <a:lnTo>
                    <a:pt x="50" y="93"/>
                  </a:lnTo>
                  <a:lnTo>
                    <a:pt x="61" y="95"/>
                  </a:lnTo>
                  <a:lnTo>
                    <a:pt x="61" y="98"/>
                  </a:lnTo>
                  <a:lnTo>
                    <a:pt x="57" y="107"/>
                  </a:lnTo>
                  <a:lnTo>
                    <a:pt x="54" y="114"/>
                  </a:lnTo>
                  <a:lnTo>
                    <a:pt x="52" y="131"/>
                  </a:lnTo>
                  <a:lnTo>
                    <a:pt x="33" y="140"/>
                  </a:lnTo>
                  <a:lnTo>
                    <a:pt x="31" y="150"/>
                  </a:lnTo>
                  <a:lnTo>
                    <a:pt x="40" y="152"/>
                  </a:lnTo>
                  <a:lnTo>
                    <a:pt x="47" y="150"/>
                  </a:lnTo>
                  <a:lnTo>
                    <a:pt x="61" y="140"/>
                  </a:lnTo>
                  <a:lnTo>
                    <a:pt x="64" y="145"/>
                  </a:lnTo>
                  <a:lnTo>
                    <a:pt x="57" y="157"/>
                  </a:lnTo>
                  <a:lnTo>
                    <a:pt x="54" y="171"/>
                  </a:lnTo>
                  <a:lnTo>
                    <a:pt x="47" y="171"/>
                  </a:lnTo>
                  <a:lnTo>
                    <a:pt x="38" y="159"/>
                  </a:lnTo>
                  <a:lnTo>
                    <a:pt x="31" y="157"/>
                  </a:lnTo>
                  <a:lnTo>
                    <a:pt x="16" y="162"/>
                  </a:lnTo>
                  <a:lnTo>
                    <a:pt x="4" y="174"/>
                  </a:lnTo>
                  <a:lnTo>
                    <a:pt x="4" y="181"/>
                  </a:lnTo>
                  <a:lnTo>
                    <a:pt x="12" y="183"/>
                  </a:lnTo>
                  <a:lnTo>
                    <a:pt x="21" y="176"/>
                  </a:lnTo>
                  <a:lnTo>
                    <a:pt x="33" y="167"/>
                  </a:lnTo>
                  <a:lnTo>
                    <a:pt x="38" y="176"/>
                  </a:lnTo>
                  <a:lnTo>
                    <a:pt x="26" y="190"/>
                  </a:lnTo>
                  <a:lnTo>
                    <a:pt x="12" y="207"/>
                  </a:lnTo>
                  <a:lnTo>
                    <a:pt x="2" y="217"/>
                  </a:lnTo>
                  <a:lnTo>
                    <a:pt x="0" y="233"/>
                  </a:lnTo>
                  <a:lnTo>
                    <a:pt x="7" y="236"/>
                  </a:lnTo>
                  <a:lnTo>
                    <a:pt x="14" y="233"/>
                  </a:lnTo>
                  <a:lnTo>
                    <a:pt x="19" y="236"/>
                  </a:lnTo>
                  <a:lnTo>
                    <a:pt x="16" y="243"/>
                  </a:lnTo>
                  <a:lnTo>
                    <a:pt x="0" y="255"/>
                  </a:lnTo>
                  <a:lnTo>
                    <a:pt x="4" y="271"/>
                  </a:lnTo>
                  <a:lnTo>
                    <a:pt x="21" y="286"/>
                  </a:lnTo>
                  <a:lnTo>
                    <a:pt x="38" y="286"/>
                  </a:lnTo>
                  <a:lnTo>
                    <a:pt x="40" y="293"/>
                  </a:lnTo>
                  <a:lnTo>
                    <a:pt x="54" y="293"/>
                  </a:lnTo>
                  <a:lnTo>
                    <a:pt x="64" y="283"/>
                  </a:lnTo>
                  <a:lnTo>
                    <a:pt x="78" y="267"/>
                  </a:lnTo>
                  <a:lnTo>
                    <a:pt x="85" y="259"/>
                  </a:lnTo>
                  <a:lnTo>
                    <a:pt x="95" y="248"/>
                  </a:lnTo>
                  <a:lnTo>
                    <a:pt x="104" y="238"/>
                  </a:lnTo>
                  <a:lnTo>
                    <a:pt x="128" y="226"/>
                  </a:lnTo>
                  <a:lnTo>
                    <a:pt x="140" y="224"/>
                  </a:lnTo>
                  <a:lnTo>
                    <a:pt x="156" y="224"/>
                  </a:lnTo>
                  <a:lnTo>
                    <a:pt x="166" y="217"/>
                  </a:lnTo>
                  <a:lnTo>
                    <a:pt x="175" y="209"/>
                  </a:lnTo>
                  <a:lnTo>
                    <a:pt x="190" y="202"/>
                  </a:lnTo>
                  <a:lnTo>
                    <a:pt x="194" y="195"/>
                  </a:lnTo>
                  <a:lnTo>
                    <a:pt x="199" y="190"/>
                  </a:lnTo>
                  <a:lnTo>
                    <a:pt x="206" y="193"/>
                  </a:lnTo>
                  <a:lnTo>
                    <a:pt x="221" y="195"/>
                  </a:lnTo>
                  <a:lnTo>
                    <a:pt x="232" y="190"/>
                  </a:lnTo>
                  <a:lnTo>
                    <a:pt x="249" y="183"/>
                  </a:lnTo>
                  <a:lnTo>
                    <a:pt x="259" y="181"/>
                  </a:lnTo>
                  <a:lnTo>
                    <a:pt x="270" y="178"/>
                  </a:lnTo>
                  <a:lnTo>
                    <a:pt x="280" y="176"/>
                  </a:lnTo>
                  <a:lnTo>
                    <a:pt x="278" y="169"/>
                  </a:lnTo>
                  <a:lnTo>
                    <a:pt x="270" y="169"/>
                  </a:lnTo>
                  <a:lnTo>
                    <a:pt x="261" y="169"/>
                  </a:lnTo>
                  <a:lnTo>
                    <a:pt x="247" y="174"/>
                  </a:lnTo>
                  <a:lnTo>
                    <a:pt x="237" y="171"/>
                  </a:lnTo>
                  <a:lnTo>
                    <a:pt x="237" y="164"/>
                  </a:lnTo>
                  <a:lnTo>
                    <a:pt x="247" y="162"/>
                  </a:lnTo>
                  <a:lnTo>
                    <a:pt x="244" y="157"/>
                  </a:lnTo>
                  <a:lnTo>
                    <a:pt x="244" y="150"/>
                  </a:lnTo>
                  <a:lnTo>
                    <a:pt x="254" y="148"/>
                  </a:lnTo>
                  <a:lnTo>
                    <a:pt x="270" y="152"/>
                  </a:lnTo>
                  <a:lnTo>
                    <a:pt x="278" y="159"/>
                  </a:lnTo>
                  <a:lnTo>
                    <a:pt x="285" y="164"/>
                  </a:lnTo>
                  <a:lnTo>
                    <a:pt x="292" y="162"/>
                  </a:lnTo>
                  <a:lnTo>
                    <a:pt x="294" y="155"/>
                  </a:lnTo>
                  <a:lnTo>
                    <a:pt x="289" y="148"/>
                  </a:lnTo>
                  <a:lnTo>
                    <a:pt x="282" y="145"/>
                  </a:lnTo>
                  <a:lnTo>
                    <a:pt x="273" y="143"/>
                  </a:lnTo>
                  <a:lnTo>
                    <a:pt x="266" y="138"/>
                  </a:lnTo>
                  <a:lnTo>
                    <a:pt x="266" y="131"/>
                  </a:lnTo>
                  <a:lnTo>
                    <a:pt x="273" y="126"/>
                  </a:lnTo>
                  <a:lnTo>
                    <a:pt x="282" y="126"/>
                  </a:lnTo>
                  <a:lnTo>
                    <a:pt x="287" y="126"/>
                  </a:lnTo>
                  <a:lnTo>
                    <a:pt x="294" y="129"/>
                  </a:lnTo>
                  <a:lnTo>
                    <a:pt x="299" y="133"/>
                  </a:lnTo>
                  <a:lnTo>
                    <a:pt x="308" y="136"/>
                  </a:lnTo>
                  <a:lnTo>
                    <a:pt x="318" y="131"/>
                  </a:lnTo>
                  <a:lnTo>
                    <a:pt x="316" y="126"/>
                  </a:lnTo>
                  <a:lnTo>
                    <a:pt x="313" y="121"/>
                  </a:lnTo>
                  <a:lnTo>
                    <a:pt x="316" y="119"/>
                  </a:lnTo>
                  <a:lnTo>
                    <a:pt x="320" y="117"/>
                  </a:lnTo>
                  <a:lnTo>
                    <a:pt x="320" y="109"/>
                  </a:lnTo>
                  <a:lnTo>
                    <a:pt x="320" y="105"/>
                  </a:lnTo>
                  <a:lnTo>
                    <a:pt x="325" y="105"/>
                  </a:lnTo>
                  <a:lnTo>
                    <a:pt x="330" y="107"/>
                  </a:lnTo>
                  <a:lnTo>
                    <a:pt x="335" y="107"/>
                  </a:lnTo>
                  <a:lnTo>
                    <a:pt x="339" y="102"/>
                  </a:lnTo>
                  <a:lnTo>
                    <a:pt x="339" y="98"/>
                  </a:lnTo>
                  <a:lnTo>
                    <a:pt x="335" y="93"/>
                  </a:lnTo>
                  <a:lnTo>
                    <a:pt x="339" y="90"/>
                  </a:lnTo>
                  <a:lnTo>
                    <a:pt x="346" y="93"/>
                  </a:lnTo>
                  <a:lnTo>
                    <a:pt x="354" y="93"/>
                  </a:lnTo>
                  <a:lnTo>
                    <a:pt x="358" y="86"/>
                  </a:lnTo>
                  <a:lnTo>
                    <a:pt x="356" y="79"/>
                  </a:lnTo>
                  <a:lnTo>
                    <a:pt x="356" y="67"/>
                  </a:lnTo>
                  <a:lnTo>
                    <a:pt x="363" y="60"/>
                  </a:lnTo>
                  <a:lnTo>
                    <a:pt x="375" y="57"/>
                  </a:lnTo>
                  <a:lnTo>
                    <a:pt x="392" y="52"/>
                  </a:lnTo>
                  <a:lnTo>
                    <a:pt x="394" y="50"/>
                  </a:lnTo>
                  <a:lnTo>
                    <a:pt x="389" y="48"/>
                  </a:lnTo>
                  <a:lnTo>
                    <a:pt x="380" y="45"/>
                  </a:lnTo>
                  <a:lnTo>
                    <a:pt x="380" y="40"/>
                  </a:lnTo>
                  <a:lnTo>
                    <a:pt x="389" y="38"/>
                  </a:lnTo>
                  <a:lnTo>
                    <a:pt x="399" y="40"/>
                  </a:lnTo>
                  <a:lnTo>
                    <a:pt x="406" y="43"/>
                  </a:lnTo>
                  <a:lnTo>
                    <a:pt x="418" y="38"/>
                  </a:lnTo>
                  <a:lnTo>
                    <a:pt x="432" y="36"/>
                  </a:lnTo>
                  <a:lnTo>
                    <a:pt x="432" y="29"/>
                  </a:lnTo>
                  <a:lnTo>
                    <a:pt x="425" y="26"/>
                  </a:lnTo>
                  <a:lnTo>
                    <a:pt x="418" y="29"/>
                  </a:lnTo>
                  <a:lnTo>
                    <a:pt x="406" y="29"/>
                  </a:lnTo>
                  <a:lnTo>
                    <a:pt x="389" y="31"/>
                  </a:lnTo>
                  <a:lnTo>
                    <a:pt x="380" y="36"/>
                  </a:lnTo>
                  <a:lnTo>
                    <a:pt x="365" y="43"/>
                  </a:lnTo>
                  <a:lnTo>
                    <a:pt x="346" y="48"/>
                  </a:lnTo>
                  <a:lnTo>
                    <a:pt x="344" y="40"/>
                  </a:lnTo>
                  <a:lnTo>
                    <a:pt x="351" y="36"/>
                  </a:lnTo>
                  <a:lnTo>
                    <a:pt x="361" y="33"/>
                  </a:lnTo>
                  <a:lnTo>
                    <a:pt x="370" y="31"/>
                  </a:lnTo>
                  <a:lnTo>
                    <a:pt x="377" y="29"/>
                  </a:lnTo>
                  <a:lnTo>
                    <a:pt x="377" y="24"/>
                  </a:lnTo>
                  <a:lnTo>
                    <a:pt x="375" y="19"/>
                  </a:lnTo>
                  <a:lnTo>
                    <a:pt x="382" y="19"/>
                  </a:lnTo>
                  <a:lnTo>
                    <a:pt x="396" y="21"/>
                  </a:lnTo>
                  <a:lnTo>
                    <a:pt x="401" y="19"/>
                  </a:lnTo>
                  <a:lnTo>
                    <a:pt x="401" y="14"/>
                  </a:lnTo>
                  <a:lnTo>
                    <a:pt x="399" y="12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2" y="2"/>
                  </a:lnTo>
                  <a:lnTo>
                    <a:pt x="3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0209;p275">
              <a:extLst>
                <a:ext uri="{FF2B5EF4-FFF2-40B4-BE49-F238E27FC236}">
                  <a16:creationId xmlns:a16="http://schemas.microsoft.com/office/drawing/2014/main" id="{37E34BDC-3EED-E661-471F-AB2FF00FC436}"/>
                </a:ext>
              </a:extLst>
            </p:cNvPr>
            <p:cNvSpPr/>
            <p:nvPr/>
          </p:nvSpPr>
          <p:spPr>
            <a:xfrm>
              <a:off x="4724142" y="1632148"/>
              <a:ext cx="1021343" cy="692715"/>
            </a:xfrm>
            <a:custGeom>
              <a:avLst/>
              <a:gdLst/>
              <a:ahLst/>
              <a:cxnLst/>
              <a:rect l="l" t="t" r="r" b="b"/>
              <a:pathLst>
                <a:path w="432" h="293" extrusionOk="0">
                  <a:moveTo>
                    <a:pt x="306" y="31"/>
                  </a:moveTo>
                  <a:lnTo>
                    <a:pt x="292" y="29"/>
                  </a:lnTo>
                  <a:lnTo>
                    <a:pt x="297" y="21"/>
                  </a:lnTo>
                  <a:lnTo>
                    <a:pt x="316" y="19"/>
                  </a:lnTo>
                  <a:lnTo>
                    <a:pt x="335" y="19"/>
                  </a:lnTo>
                  <a:lnTo>
                    <a:pt x="325" y="26"/>
                  </a:lnTo>
                  <a:lnTo>
                    <a:pt x="306" y="31"/>
                  </a:lnTo>
                  <a:moveTo>
                    <a:pt x="387" y="0"/>
                  </a:moveTo>
                  <a:lnTo>
                    <a:pt x="373" y="2"/>
                  </a:lnTo>
                  <a:lnTo>
                    <a:pt x="368" y="5"/>
                  </a:lnTo>
                  <a:lnTo>
                    <a:pt x="354" y="7"/>
                  </a:lnTo>
                  <a:lnTo>
                    <a:pt x="344" y="7"/>
                  </a:lnTo>
                  <a:lnTo>
                    <a:pt x="335" y="5"/>
                  </a:lnTo>
                  <a:lnTo>
                    <a:pt x="330" y="2"/>
                  </a:lnTo>
                  <a:lnTo>
                    <a:pt x="325" y="2"/>
                  </a:lnTo>
                  <a:lnTo>
                    <a:pt x="318" y="12"/>
                  </a:lnTo>
                  <a:lnTo>
                    <a:pt x="304" y="12"/>
                  </a:lnTo>
                  <a:lnTo>
                    <a:pt x="299" y="10"/>
                  </a:lnTo>
                  <a:lnTo>
                    <a:pt x="294" y="10"/>
                  </a:lnTo>
                  <a:lnTo>
                    <a:pt x="285" y="14"/>
                  </a:lnTo>
                  <a:lnTo>
                    <a:pt x="275" y="17"/>
                  </a:lnTo>
                  <a:lnTo>
                    <a:pt x="270" y="19"/>
                  </a:lnTo>
                  <a:lnTo>
                    <a:pt x="266" y="26"/>
                  </a:lnTo>
                  <a:lnTo>
                    <a:pt x="259" y="26"/>
                  </a:lnTo>
                  <a:lnTo>
                    <a:pt x="256" y="21"/>
                  </a:lnTo>
                  <a:lnTo>
                    <a:pt x="259" y="17"/>
                  </a:lnTo>
                  <a:lnTo>
                    <a:pt x="249" y="14"/>
                  </a:lnTo>
                  <a:lnTo>
                    <a:pt x="240" y="19"/>
                  </a:lnTo>
                  <a:lnTo>
                    <a:pt x="230" y="29"/>
                  </a:lnTo>
                  <a:lnTo>
                    <a:pt x="206" y="29"/>
                  </a:lnTo>
                  <a:lnTo>
                    <a:pt x="206" y="24"/>
                  </a:lnTo>
                  <a:lnTo>
                    <a:pt x="216" y="17"/>
                  </a:lnTo>
                  <a:lnTo>
                    <a:pt x="211" y="14"/>
                  </a:lnTo>
                  <a:lnTo>
                    <a:pt x="202" y="17"/>
                  </a:lnTo>
                  <a:lnTo>
                    <a:pt x="187" y="21"/>
                  </a:lnTo>
                  <a:lnTo>
                    <a:pt x="159" y="24"/>
                  </a:lnTo>
                  <a:lnTo>
                    <a:pt x="149" y="26"/>
                  </a:lnTo>
                  <a:lnTo>
                    <a:pt x="142" y="33"/>
                  </a:lnTo>
                  <a:lnTo>
                    <a:pt x="140" y="36"/>
                  </a:lnTo>
                  <a:lnTo>
                    <a:pt x="118" y="36"/>
                  </a:lnTo>
                  <a:lnTo>
                    <a:pt x="102" y="38"/>
                  </a:lnTo>
                  <a:lnTo>
                    <a:pt x="95" y="43"/>
                  </a:lnTo>
                  <a:lnTo>
                    <a:pt x="95" y="52"/>
                  </a:lnTo>
                  <a:lnTo>
                    <a:pt x="85" y="57"/>
                  </a:lnTo>
                  <a:lnTo>
                    <a:pt x="66" y="57"/>
                  </a:lnTo>
                  <a:lnTo>
                    <a:pt x="52" y="62"/>
                  </a:lnTo>
                  <a:lnTo>
                    <a:pt x="28" y="60"/>
                  </a:lnTo>
                  <a:lnTo>
                    <a:pt x="21" y="62"/>
                  </a:lnTo>
                  <a:lnTo>
                    <a:pt x="19" y="71"/>
                  </a:lnTo>
                  <a:lnTo>
                    <a:pt x="21" y="74"/>
                  </a:lnTo>
                  <a:lnTo>
                    <a:pt x="38" y="74"/>
                  </a:lnTo>
                  <a:lnTo>
                    <a:pt x="45" y="76"/>
                  </a:lnTo>
                  <a:lnTo>
                    <a:pt x="45" y="79"/>
                  </a:lnTo>
                  <a:lnTo>
                    <a:pt x="35" y="81"/>
                  </a:lnTo>
                  <a:lnTo>
                    <a:pt x="21" y="79"/>
                  </a:lnTo>
                  <a:lnTo>
                    <a:pt x="9" y="81"/>
                  </a:lnTo>
                  <a:lnTo>
                    <a:pt x="2" y="86"/>
                  </a:lnTo>
                  <a:lnTo>
                    <a:pt x="2" y="93"/>
                  </a:lnTo>
                  <a:lnTo>
                    <a:pt x="7" y="95"/>
                  </a:lnTo>
                  <a:lnTo>
                    <a:pt x="21" y="95"/>
                  </a:lnTo>
                  <a:lnTo>
                    <a:pt x="31" y="90"/>
                  </a:lnTo>
                  <a:lnTo>
                    <a:pt x="38" y="90"/>
                  </a:lnTo>
                  <a:lnTo>
                    <a:pt x="50" y="93"/>
                  </a:lnTo>
                  <a:lnTo>
                    <a:pt x="61" y="95"/>
                  </a:lnTo>
                  <a:lnTo>
                    <a:pt x="61" y="98"/>
                  </a:lnTo>
                  <a:lnTo>
                    <a:pt x="57" y="107"/>
                  </a:lnTo>
                  <a:lnTo>
                    <a:pt x="54" y="114"/>
                  </a:lnTo>
                  <a:lnTo>
                    <a:pt x="52" y="131"/>
                  </a:lnTo>
                  <a:lnTo>
                    <a:pt x="33" y="140"/>
                  </a:lnTo>
                  <a:lnTo>
                    <a:pt x="31" y="150"/>
                  </a:lnTo>
                  <a:lnTo>
                    <a:pt x="40" y="152"/>
                  </a:lnTo>
                  <a:lnTo>
                    <a:pt x="47" y="150"/>
                  </a:lnTo>
                  <a:lnTo>
                    <a:pt x="61" y="140"/>
                  </a:lnTo>
                  <a:lnTo>
                    <a:pt x="64" y="145"/>
                  </a:lnTo>
                  <a:lnTo>
                    <a:pt x="57" y="157"/>
                  </a:lnTo>
                  <a:lnTo>
                    <a:pt x="54" y="171"/>
                  </a:lnTo>
                  <a:lnTo>
                    <a:pt x="47" y="171"/>
                  </a:lnTo>
                  <a:lnTo>
                    <a:pt x="38" y="159"/>
                  </a:lnTo>
                  <a:lnTo>
                    <a:pt x="31" y="157"/>
                  </a:lnTo>
                  <a:lnTo>
                    <a:pt x="16" y="162"/>
                  </a:lnTo>
                  <a:lnTo>
                    <a:pt x="4" y="174"/>
                  </a:lnTo>
                  <a:lnTo>
                    <a:pt x="4" y="181"/>
                  </a:lnTo>
                  <a:lnTo>
                    <a:pt x="12" y="183"/>
                  </a:lnTo>
                  <a:lnTo>
                    <a:pt x="21" y="176"/>
                  </a:lnTo>
                  <a:lnTo>
                    <a:pt x="33" y="167"/>
                  </a:lnTo>
                  <a:lnTo>
                    <a:pt x="38" y="176"/>
                  </a:lnTo>
                  <a:lnTo>
                    <a:pt x="26" y="190"/>
                  </a:lnTo>
                  <a:lnTo>
                    <a:pt x="12" y="207"/>
                  </a:lnTo>
                  <a:lnTo>
                    <a:pt x="2" y="217"/>
                  </a:lnTo>
                  <a:lnTo>
                    <a:pt x="0" y="233"/>
                  </a:lnTo>
                  <a:lnTo>
                    <a:pt x="7" y="236"/>
                  </a:lnTo>
                  <a:lnTo>
                    <a:pt x="14" y="233"/>
                  </a:lnTo>
                  <a:lnTo>
                    <a:pt x="19" y="236"/>
                  </a:lnTo>
                  <a:lnTo>
                    <a:pt x="16" y="243"/>
                  </a:lnTo>
                  <a:lnTo>
                    <a:pt x="0" y="255"/>
                  </a:lnTo>
                  <a:lnTo>
                    <a:pt x="4" y="271"/>
                  </a:lnTo>
                  <a:lnTo>
                    <a:pt x="21" y="286"/>
                  </a:lnTo>
                  <a:lnTo>
                    <a:pt x="38" y="286"/>
                  </a:lnTo>
                  <a:lnTo>
                    <a:pt x="40" y="293"/>
                  </a:lnTo>
                  <a:lnTo>
                    <a:pt x="54" y="293"/>
                  </a:lnTo>
                  <a:lnTo>
                    <a:pt x="64" y="283"/>
                  </a:lnTo>
                  <a:lnTo>
                    <a:pt x="78" y="267"/>
                  </a:lnTo>
                  <a:lnTo>
                    <a:pt x="85" y="259"/>
                  </a:lnTo>
                  <a:lnTo>
                    <a:pt x="95" y="248"/>
                  </a:lnTo>
                  <a:lnTo>
                    <a:pt x="104" y="238"/>
                  </a:lnTo>
                  <a:lnTo>
                    <a:pt x="128" y="226"/>
                  </a:lnTo>
                  <a:lnTo>
                    <a:pt x="140" y="224"/>
                  </a:lnTo>
                  <a:lnTo>
                    <a:pt x="156" y="224"/>
                  </a:lnTo>
                  <a:lnTo>
                    <a:pt x="166" y="217"/>
                  </a:lnTo>
                  <a:lnTo>
                    <a:pt x="175" y="209"/>
                  </a:lnTo>
                  <a:lnTo>
                    <a:pt x="190" y="202"/>
                  </a:lnTo>
                  <a:lnTo>
                    <a:pt x="194" y="195"/>
                  </a:lnTo>
                  <a:lnTo>
                    <a:pt x="199" y="190"/>
                  </a:lnTo>
                  <a:lnTo>
                    <a:pt x="206" y="193"/>
                  </a:lnTo>
                  <a:lnTo>
                    <a:pt x="221" y="195"/>
                  </a:lnTo>
                  <a:lnTo>
                    <a:pt x="232" y="190"/>
                  </a:lnTo>
                  <a:lnTo>
                    <a:pt x="249" y="183"/>
                  </a:lnTo>
                  <a:lnTo>
                    <a:pt x="259" y="181"/>
                  </a:lnTo>
                  <a:lnTo>
                    <a:pt x="270" y="178"/>
                  </a:lnTo>
                  <a:lnTo>
                    <a:pt x="280" y="176"/>
                  </a:lnTo>
                  <a:lnTo>
                    <a:pt x="278" y="169"/>
                  </a:lnTo>
                  <a:lnTo>
                    <a:pt x="270" y="169"/>
                  </a:lnTo>
                  <a:lnTo>
                    <a:pt x="261" y="169"/>
                  </a:lnTo>
                  <a:lnTo>
                    <a:pt x="247" y="174"/>
                  </a:lnTo>
                  <a:lnTo>
                    <a:pt x="237" y="171"/>
                  </a:lnTo>
                  <a:lnTo>
                    <a:pt x="237" y="164"/>
                  </a:lnTo>
                  <a:lnTo>
                    <a:pt x="247" y="162"/>
                  </a:lnTo>
                  <a:lnTo>
                    <a:pt x="244" y="157"/>
                  </a:lnTo>
                  <a:lnTo>
                    <a:pt x="244" y="150"/>
                  </a:lnTo>
                  <a:lnTo>
                    <a:pt x="254" y="148"/>
                  </a:lnTo>
                  <a:lnTo>
                    <a:pt x="270" y="152"/>
                  </a:lnTo>
                  <a:lnTo>
                    <a:pt x="278" y="159"/>
                  </a:lnTo>
                  <a:lnTo>
                    <a:pt x="285" y="164"/>
                  </a:lnTo>
                  <a:lnTo>
                    <a:pt x="292" y="162"/>
                  </a:lnTo>
                  <a:lnTo>
                    <a:pt x="294" y="155"/>
                  </a:lnTo>
                  <a:lnTo>
                    <a:pt x="289" y="148"/>
                  </a:lnTo>
                  <a:lnTo>
                    <a:pt x="282" y="145"/>
                  </a:lnTo>
                  <a:lnTo>
                    <a:pt x="273" y="143"/>
                  </a:lnTo>
                  <a:lnTo>
                    <a:pt x="266" y="138"/>
                  </a:lnTo>
                  <a:lnTo>
                    <a:pt x="266" y="131"/>
                  </a:lnTo>
                  <a:lnTo>
                    <a:pt x="273" y="126"/>
                  </a:lnTo>
                  <a:lnTo>
                    <a:pt x="282" y="126"/>
                  </a:lnTo>
                  <a:lnTo>
                    <a:pt x="287" y="126"/>
                  </a:lnTo>
                  <a:lnTo>
                    <a:pt x="294" y="129"/>
                  </a:lnTo>
                  <a:lnTo>
                    <a:pt x="299" y="133"/>
                  </a:lnTo>
                  <a:lnTo>
                    <a:pt x="308" y="136"/>
                  </a:lnTo>
                  <a:lnTo>
                    <a:pt x="318" y="131"/>
                  </a:lnTo>
                  <a:lnTo>
                    <a:pt x="316" y="126"/>
                  </a:lnTo>
                  <a:lnTo>
                    <a:pt x="313" y="121"/>
                  </a:lnTo>
                  <a:lnTo>
                    <a:pt x="316" y="119"/>
                  </a:lnTo>
                  <a:lnTo>
                    <a:pt x="320" y="117"/>
                  </a:lnTo>
                  <a:lnTo>
                    <a:pt x="320" y="109"/>
                  </a:lnTo>
                  <a:lnTo>
                    <a:pt x="320" y="105"/>
                  </a:lnTo>
                  <a:lnTo>
                    <a:pt x="325" y="105"/>
                  </a:lnTo>
                  <a:lnTo>
                    <a:pt x="330" y="107"/>
                  </a:lnTo>
                  <a:lnTo>
                    <a:pt x="335" y="107"/>
                  </a:lnTo>
                  <a:lnTo>
                    <a:pt x="339" y="102"/>
                  </a:lnTo>
                  <a:lnTo>
                    <a:pt x="339" y="98"/>
                  </a:lnTo>
                  <a:lnTo>
                    <a:pt x="335" y="93"/>
                  </a:lnTo>
                  <a:lnTo>
                    <a:pt x="339" y="90"/>
                  </a:lnTo>
                  <a:lnTo>
                    <a:pt x="346" y="93"/>
                  </a:lnTo>
                  <a:lnTo>
                    <a:pt x="354" y="93"/>
                  </a:lnTo>
                  <a:lnTo>
                    <a:pt x="358" y="86"/>
                  </a:lnTo>
                  <a:lnTo>
                    <a:pt x="356" y="79"/>
                  </a:lnTo>
                  <a:lnTo>
                    <a:pt x="356" y="67"/>
                  </a:lnTo>
                  <a:lnTo>
                    <a:pt x="363" y="60"/>
                  </a:lnTo>
                  <a:lnTo>
                    <a:pt x="375" y="57"/>
                  </a:lnTo>
                  <a:lnTo>
                    <a:pt x="392" y="52"/>
                  </a:lnTo>
                  <a:lnTo>
                    <a:pt x="394" y="50"/>
                  </a:lnTo>
                  <a:lnTo>
                    <a:pt x="389" y="48"/>
                  </a:lnTo>
                  <a:lnTo>
                    <a:pt x="380" y="45"/>
                  </a:lnTo>
                  <a:lnTo>
                    <a:pt x="380" y="40"/>
                  </a:lnTo>
                  <a:lnTo>
                    <a:pt x="389" y="38"/>
                  </a:lnTo>
                  <a:lnTo>
                    <a:pt x="399" y="40"/>
                  </a:lnTo>
                  <a:lnTo>
                    <a:pt x="406" y="43"/>
                  </a:lnTo>
                  <a:lnTo>
                    <a:pt x="418" y="38"/>
                  </a:lnTo>
                  <a:lnTo>
                    <a:pt x="432" y="36"/>
                  </a:lnTo>
                  <a:lnTo>
                    <a:pt x="432" y="29"/>
                  </a:lnTo>
                  <a:lnTo>
                    <a:pt x="425" y="26"/>
                  </a:lnTo>
                  <a:lnTo>
                    <a:pt x="418" y="29"/>
                  </a:lnTo>
                  <a:lnTo>
                    <a:pt x="406" y="29"/>
                  </a:lnTo>
                  <a:lnTo>
                    <a:pt x="389" y="31"/>
                  </a:lnTo>
                  <a:lnTo>
                    <a:pt x="380" y="36"/>
                  </a:lnTo>
                  <a:lnTo>
                    <a:pt x="365" y="43"/>
                  </a:lnTo>
                  <a:lnTo>
                    <a:pt x="346" y="48"/>
                  </a:lnTo>
                  <a:lnTo>
                    <a:pt x="344" y="40"/>
                  </a:lnTo>
                  <a:lnTo>
                    <a:pt x="351" y="36"/>
                  </a:lnTo>
                  <a:lnTo>
                    <a:pt x="361" y="33"/>
                  </a:lnTo>
                  <a:lnTo>
                    <a:pt x="370" y="31"/>
                  </a:lnTo>
                  <a:lnTo>
                    <a:pt x="377" y="29"/>
                  </a:lnTo>
                  <a:lnTo>
                    <a:pt x="377" y="24"/>
                  </a:lnTo>
                  <a:lnTo>
                    <a:pt x="375" y="19"/>
                  </a:lnTo>
                  <a:lnTo>
                    <a:pt x="382" y="19"/>
                  </a:lnTo>
                  <a:lnTo>
                    <a:pt x="396" y="21"/>
                  </a:lnTo>
                  <a:lnTo>
                    <a:pt x="401" y="19"/>
                  </a:lnTo>
                  <a:lnTo>
                    <a:pt x="401" y="14"/>
                  </a:lnTo>
                  <a:lnTo>
                    <a:pt x="399" y="12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2" y="2"/>
                  </a:lnTo>
                  <a:lnTo>
                    <a:pt x="387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0210;p275">
              <a:extLst>
                <a:ext uri="{FF2B5EF4-FFF2-40B4-BE49-F238E27FC236}">
                  <a16:creationId xmlns:a16="http://schemas.microsoft.com/office/drawing/2014/main" id="{2CD1C84F-950F-24C1-4598-D4E6AA3D6B44}"/>
                </a:ext>
              </a:extLst>
            </p:cNvPr>
            <p:cNvSpPr/>
            <p:nvPr/>
          </p:nvSpPr>
          <p:spPr>
            <a:xfrm>
              <a:off x="5414494" y="1677068"/>
              <a:ext cx="101661" cy="28371"/>
            </a:xfrm>
            <a:custGeom>
              <a:avLst/>
              <a:gdLst/>
              <a:ahLst/>
              <a:cxnLst/>
              <a:rect l="l" t="t" r="r" b="b"/>
              <a:pathLst>
                <a:path w="43" h="12" extrusionOk="0">
                  <a:moveTo>
                    <a:pt x="24" y="0"/>
                  </a:moveTo>
                  <a:lnTo>
                    <a:pt x="5" y="2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33" y="7"/>
                  </a:lnTo>
                  <a:lnTo>
                    <a:pt x="4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0211;p275">
              <a:extLst>
                <a:ext uri="{FF2B5EF4-FFF2-40B4-BE49-F238E27FC236}">
                  <a16:creationId xmlns:a16="http://schemas.microsoft.com/office/drawing/2014/main" id="{5D7412DA-617B-0178-2579-8013C58C6878}"/>
                </a:ext>
              </a:extLst>
            </p:cNvPr>
            <p:cNvSpPr/>
            <p:nvPr/>
          </p:nvSpPr>
          <p:spPr>
            <a:xfrm>
              <a:off x="5414494" y="1677068"/>
              <a:ext cx="101661" cy="28371"/>
            </a:xfrm>
            <a:custGeom>
              <a:avLst/>
              <a:gdLst/>
              <a:ahLst/>
              <a:cxnLst/>
              <a:rect l="l" t="t" r="r" b="b"/>
              <a:pathLst>
                <a:path w="43" h="12" extrusionOk="0">
                  <a:moveTo>
                    <a:pt x="24" y="0"/>
                  </a:moveTo>
                  <a:lnTo>
                    <a:pt x="5" y="2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33" y="7"/>
                  </a:lnTo>
                  <a:lnTo>
                    <a:pt x="43" y="0"/>
                  </a:lnTo>
                  <a:lnTo>
                    <a:pt x="2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0212;p275">
              <a:extLst>
                <a:ext uri="{FF2B5EF4-FFF2-40B4-BE49-F238E27FC236}">
                  <a16:creationId xmlns:a16="http://schemas.microsoft.com/office/drawing/2014/main" id="{38CF332D-4A45-A3ED-8B2C-B85E2033296C}"/>
                </a:ext>
              </a:extLst>
            </p:cNvPr>
            <p:cNvSpPr/>
            <p:nvPr/>
          </p:nvSpPr>
          <p:spPr>
            <a:xfrm>
              <a:off x="4438072" y="1643969"/>
              <a:ext cx="711630" cy="191502"/>
            </a:xfrm>
            <a:custGeom>
              <a:avLst/>
              <a:gdLst/>
              <a:ahLst/>
              <a:cxnLst/>
              <a:rect l="l" t="t" r="r" b="b"/>
              <a:pathLst>
                <a:path w="301" h="81" extrusionOk="0">
                  <a:moveTo>
                    <a:pt x="285" y="0"/>
                  </a:moveTo>
                  <a:lnTo>
                    <a:pt x="261" y="2"/>
                  </a:lnTo>
                  <a:lnTo>
                    <a:pt x="237" y="2"/>
                  </a:lnTo>
                  <a:lnTo>
                    <a:pt x="216" y="9"/>
                  </a:lnTo>
                  <a:lnTo>
                    <a:pt x="211" y="9"/>
                  </a:lnTo>
                  <a:lnTo>
                    <a:pt x="201" y="5"/>
                  </a:lnTo>
                  <a:lnTo>
                    <a:pt x="192" y="5"/>
                  </a:lnTo>
                  <a:lnTo>
                    <a:pt x="185" y="9"/>
                  </a:lnTo>
                  <a:lnTo>
                    <a:pt x="175" y="9"/>
                  </a:lnTo>
                  <a:lnTo>
                    <a:pt x="163" y="12"/>
                  </a:lnTo>
                  <a:lnTo>
                    <a:pt x="149" y="14"/>
                  </a:lnTo>
                  <a:lnTo>
                    <a:pt x="144" y="16"/>
                  </a:lnTo>
                  <a:lnTo>
                    <a:pt x="142" y="24"/>
                  </a:lnTo>
                  <a:lnTo>
                    <a:pt x="152" y="24"/>
                  </a:lnTo>
                  <a:lnTo>
                    <a:pt x="161" y="21"/>
                  </a:lnTo>
                  <a:lnTo>
                    <a:pt x="171" y="21"/>
                  </a:lnTo>
                  <a:lnTo>
                    <a:pt x="180" y="16"/>
                  </a:lnTo>
                  <a:lnTo>
                    <a:pt x="192" y="16"/>
                  </a:lnTo>
                  <a:lnTo>
                    <a:pt x="194" y="21"/>
                  </a:lnTo>
                  <a:lnTo>
                    <a:pt x="178" y="28"/>
                  </a:lnTo>
                  <a:lnTo>
                    <a:pt x="159" y="31"/>
                  </a:lnTo>
                  <a:lnTo>
                    <a:pt x="142" y="33"/>
                  </a:lnTo>
                  <a:lnTo>
                    <a:pt x="135" y="35"/>
                  </a:lnTo>
                  <a:lnTo>
                    <a:pt x="130" y="35"/>
                  </a:lnTo>
                  <a:lnTo>
                    <a:pt x="130" y="26"/>
                  </a:lnTo>
                  <a:lnTo>
                    <a:pt x="125" y="28"/>
                  </a:lnTo>
                  <a:lnTo>
                    <a:pt x="116" y="33"/>
                  </a:lnTo>
                  <a:lnTo>
                    <a:pt x="109" y="38"/>
                  </a:lnTo>
                  <a:lnTo>
                    <a:pt x="97" y="38"/>
                  </a:lnTo>
                  <a:lnTo>
                    <a:pt x="90" y="43"/>
                  </a:lnTo>
                  <a:lnTo>
                    <a:pt x="87" y="50"/>
                  </a:lnTo>
                  <a:lnTo>
                    <a:pt x="71" y="52"/>
                  </a:lnTo>
                  <a:lnTo>
                    <a:pt x="64" y="52"/>
                  </a:lnTo>
                  <a:lnTo>
                    <a:pt x="52" y="57"/>
                  </a:lnTo>
                  <a:lnTo>
                    <a:pt x="47" y="64"/>
                  </a:lnTo>
                  <a:lnTo>
                    <a:pt x="35" y="64"/>
                  </a:lnTo>
                  <a:lnTo>
                    <a:pt x="35" y="57"/>
                  </a:lnTo>
                  <a:lnTo>
                    <a:pt x="47" y="52"/>
                  </a:lnTo>
                  <a:lnTo>
                    <a:pt x="64" y="45"/>
                  </a:lnTo>
                  <a:lnTo>
                    <a:pt x="80" y="43"/>
                  </a:lnTo>
                  <a:lnTo>
                    <a:pt x="90" y="35"/>
                  </a:lnTo>
                  <a:lnTo>
                    <a:pt x="102" y="26"/>
                  </a:lnTo>
                  <a:lnTo>
                    <a:pt x="106" y="19"/>
                  </a:lnTo>
                  <a:lnTo>
                    <a:pt x="99" y="16"/>
                  </a:lnTo>
                  <a:lnTo>
                    <a:pt x="90" y="21"/>
                  </a:lnTo>
                  <a:lnTo>
                    <a:pt x="83" y="31"/>
                  </a:lnTo>
                  <a:lnTo>
                    <a:pt x="76" y="31"/>
                  </a:lnTo>
                  <a:lnTo>
                    <a:pt x="64" y="33"/>
                  </a:lnTo>
                  <a:lnTo>
                    <a:pt x="59" y="35"/>
                  </a:lnTo>
                  <a:lnTo>
                    <a:pt x="42" y="45"/>
                  </a:lnTo>
                  <a:lnTo>
                    <a:pt x="21" y="52"/>
                  </a:lnTo>
                  <a:lnTo>
                    <a:pt x="11" y="64"/>
                  </a:lnTo>
                  <a:lnTo>
                    <a:pt x="9" y="69"/>
                  </a:lnTo>
                  <a:lnTo>
                    <a:pt x="2" y="74"/>
                  </a:lnTo>
                  <a:lnTo>
                    <a:pt x="0" y="78"/>
                  </a:lnTo>
                  <a:lnTo>
                    <a:pt x="7" y="81"/>
                  </a:lnTo>
                  <a:lnTo>
                    <a:pt x="21" y="78"/>
                  </a:lnTo>
                  <a:lnTo>
                    <a:pt x="33" y="81"/>
                  </a:lnTo>
                  <a:lnTo>
                    <a:pt x="42" y="78"/>
                  </a:lnTo>
                  <a:lnTo>
                    <a:pt x="54" y="78"/>
                  </a:lnTo>
                  <a:lnTo>
                    <a:pt x="61" y="76"/>
                  </a:lnTo>
                  <a:lnTo>
                    <a:pt x="71" y="66"/>
                  </a:lnTo>
                  <a:lnTo>
                    <a:pt x="90" y="66"/>
                  </a:lnTo>
                  <a:lnTo>
                    <a:pt x="97" y="64"/>
                  </a:lnTo>
                  <a:lnTo>
                    <a:pt x="111" y="64"/>
                  </a:lnTo>
                  <a:lnTo>
                    <a:pt x="123" y="62"/>
                  </a:lnTo>
                  <a:lnTo>
                    <a:pt x="144" y="45"/>
                  </a:lnTo>
                  <a:lnTo>
                    <a:pt x="159" y="45"/>
                  </a:lnTo>
                  <a:lnTo>
                    <a:pt x="166" y="43"/>
                  </a:lnTo>
                  <a:lnTo>
                    <a:pt x="178" y="43"/>
                  </a:lnTo>
                  <a:lnTo>
                    <a:pt x="194" y="33"/>
                  </a:lnTo>
                  <a:lnTo>
                    <a:pt x="209" y="31"/>
                  </a:lnTo>
                  <a:lnTo>
                    <a:pt x="223" y="24"/>
                  </a:lnTo>
                  <a:lnTo>
                    <a:pt x="254" y="19"/>
                  </a:lnTo>
                  <a:lnTo>
                    <a:pt x="273" y="12"/>
                  </a:lnTo>
                  <a:lnTo>
                    <a:pt x="296" y="9"/>
                  </a:lnTo>
                  <a:lnTo>
                    <a:pt x="301" y="7"/>
                  </a:lnTo>
                  <a:lnTo>
                    <a:pt x="296" y="2"/>
                  </a:lnTo>
                  <a:lnTo>
                    <a:pt x="28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0213;p275">
              <a:extLst>
                <a:ext uri="{FF2B5EF4-FFF2-40B4-BE49-F238E27FC236}">
                  <a16:creationId xmlns:a16="http://schemas.microsoft.com/office/drawing/2014/main" id="{4D6BA317-022B-009E-2FDB-5CB1D1D2AA06}"/>
                </a:ext>
              </a:extLst>
            </p:cNvPr>
            <p:cNvSpPr/>
            <p:nvPr/>
          </p:nvSpPr>
          <p:spPr>
            <a:xfrm>
              <a:off x="4438072" y="1643969"/>
              <a:ext cx="711630" cy="191502"/>
            </a:xfrm>
            <a:custGeom>
              <a:avLst/>
              <a:gdLst/>
              <a:ahLst/>
              <a:cxnLst/>
              <a:rect l="l" t="t" r="r" b="b"/>
              <a:pathLst>
                <a:path w="301" h="81" extrusionOk="0">
                  <a:moveTo>
                    <a:pt x="285" y="0"/>
                  </a:moveTo>
                  <a:lnTo>
                    <a:pt x="261" y="2"/>
                  </a:lnTo>
                  <a:lnTo>
                    <a:pt x="237" y="2"/>
                  </a:lnTo>
                  <a:lnTo>
                    <a:pt x="216" y="9"/>
                  </a:lnTo>
                  <a:lnTo>
                    <a:pt x="211" y="9"/>
                  </a:lnTo>
                  <a:lnTo>
                    <a:pt x="201" y="5"/>
                  </a:lnTo>
                  <a:lnTo>
                    <a:pt x="192" y="5"/>
                  </a:lnTo>
                  <a:lnTo>
                    <a:pt x="185" y="9"/>
                  </a:lnTo>
                  <a:lnTo>
                    <a:pt x="175" y="9"/>
                  </a:lnTo>
                  <a:lnTo>
                    <a:pt x="163" y="12"/>
                  </a:lnTo>
                  <a:lnTo>
                    <a:pt x="149" y="14"/>
                  </a:lnTo>
                  <a:lnTo>
                    <a:pt x="144" y="16"/>
                  </a:lnTo>
                  <a:lnTo>
                    <a:pt x="142" y="24"/>
                  </a:lnTo>
                  <a:lnTo>
                    <a:pt x="152" y="24"/>
                  </a:lnTo>
                  <a:lnTo>
                    <a:pt x="161" y="21"/>
                  </a:lnTo>
                  <a:lnTo>
                    <a:pt x="171" y="21"/>
                  </a:lnTo>
                  <a:lnTo>
                    <a:pt x="180" y="16"/>
                  </a:lnTo>
                  <a:lnTo>
                    <a:pt x="192" y="16"/>
                  </a:lnTo>
                  <a:lnTo>
                    <a:pt x="194" y="21"/>
                  </a:lnTo>
                  <a:lnTo>
                    <a:pt x="178" y="28"/>
                  </a:lnTo>
                  <a:lnTo>
                    <a:pt x="159" y="31"/>
                  </a:lnTo>
                  <a:lnTo>
                    <a:pt x="142" y="33"/>
                  </a:lnTo>
                  <a:lnTo>
                    <a:pt x="135" y="35"/>
                  </a:lnTo>
                  <a:lnTo>
                    <a:pt x="130" y="35"/>
                  </a:lnTo>
                  <a:lnTo>
                    <a:pt x="130" y="26"/>
                  </a:lnTo>
                  <a:lnTo>
                    <a:pt x="125" y="28"/>
                  </a:lnTo>
                  <a:lnTo>
                    <a:pt x="116" y="33"/>
                  </a:lnTo>
                  <a:lnTo>
                    <a:pt x="109" y="38"/>
                  </a:lnTo>
                  <a:lnTo>
                    <a:pt x="97" y="38"/>
                  </a:lnTo>
                  <a:lnTo>
                    <a:pt x="90" y="43"/>
                  </a:lnTo>
                  <a:lnTo>
                    <a:pt x="87" y="50"/>
                  </a:lnTo>
                  <a:lnTo>
                    <a:pt x="71" y="52"/>
                  </a:lnTo>
                  <a:lnTo>
                    <a:pt x="64" y="52"/>
                  </a:lnTo>
                  <a:lnTo>
                    <a:pt x="52" y="57"/>
                  </a:lnTo>
                  <a:lnTo>
                    <a:pt x="47" y="64"/>
                  </a:lnTo>
                  <a:lnTo>
                    <a:pt x="35" y="64"/>
                  </a:lnTo>
                  <a:lnTo>
                    <a:pt x="35" y="57"/>
                  </a:lnTo>
                  <a:lnTo>
                    <a:pt x="47" y="52"/>
                  </a:lnTo>
                  <a:lnTo>
                    <a:pt x="64" y="45"/>
                  </a:lnTo>
                  <a:lnTo>
                    <a:pt x="80" y="43"/>
                  </a:lnTo>
                  <a:lnTo>
                    <a:pt x="90" y="35"/>
                  </a:lnTo>
                  <a:lnTo>
                    <a:pt x="102" y="26"/>
                  </a:lnTo>
                  <a:lnTo>
                    <a:pt x="106" y="19"/>
                  </a:lnTo>
                  <a:lnTo>
                    <a:pt x="99" y="16"/>
                  </a:lnTo>
                  <a:lnTo>
                    <a:pt x="90" y="21"/>
                  </a:lnTo>
                  <a:lnTo>
                    <a:pt x="83" y="31"/>
                  </a:lnTo>
                  <a:lnTo>
                    <a:pt x="76" y="31"/>
                  </a:lnTo>
                  <a:lnTo>
                    <a:pt x="64" y="33"/>
                  </a:lnTo>
                  <a:lnTo>
                    <a:pt x="59" y="35"/>
                  </a:lnTo>
                  <a:lnTo>
                    <a:pt x="42" y="45"/>
                  </a:lnTo>
                  <a:lnTo>
                    <a:pt x="21" y="52"/>
                  </a:lnTo>
                  <a:lnTo>
                    <a:pt x="11" y="64"/>
                  </a:lnTo>
                  <a:lnTo>
                    <a:pt x="9" y="69"/>
                  </a:lnTo>
                  <a:lnTo>
                    <a:pt x="2" y="74"/>
                  </a:lnTo>
                  <a:lnTo>
                    <a:pt x="0" y="78"/>
                  </a:lnTo>
                  <a:lnTo>
                    <a:pt x="7" y="81"/>
                  </a:lnTo>
                  <a:lnTo>
                    <a:pt x="21" y="78"/>
                  </a:lnTo>
                  <a:lnTo>
                    <a:pt x="33" y="81"/>
                  </a:lnTo>
                  <a:lnTo>
                    <a:pt x="42" y="78"/>
                  </a:lnTo>
                  <a:lnTo>
                    <a:pt x="54" y="78"/>
                  </a:lnTo>
                  <a:lnTo>
                    <a:pt x="61" y="76"/>
                  </a:lnTo>
                  <a:lnTo>
                    <a:pt x="71" y="66"/>
                  </a:lnTo>
                  <a:lnTo>
                    <a:pt x="90" y="66"/>
                  </a:lnTo>
                  <a:lnTo>
                    <a:pt x="97" y="64"/>
                  </a:lnTo>
                  <a:lnTo>
                    <a:pt x="111" y="64"/>
                  </a:lnTo>
                  <a:lnTo>
                    <a:pt x="123" y="62"/>
                  </a:lnTo>
                  <a:lnTo>
                    <a:pt x="144" y="45"/>
                  </a:lnTo>
                  <a:lnTo>
                    <a:pt x="159" y="45"/>
                  </a:lnTo>
                  <a:lnTo>
                    <a:pt x="166" y="43"/>
                  </a:lnTo>
                  <a:lnTo>
                    <a:pt x="178" y="43"/>
                  </a:lnTo>
                  <a:lnTo>
                    <a:pt x="194" y="33"/>
                  </a:lnTo>
                  <a:lnTo>
                    <a:pt x="209" y="31"/>
                  </a:lnTo>
                  <a:lnTo>
                    <a:pt x="223" y="24"/>
                  </a:lnTo>
                  <a:lnTo>
                    <a:pt x="254" y="19"/>
                  </a:lnTo>
                  <a:lnTo>
                    <a:pt x="273" y="12"/>
                  </a:lnTo>
                  <a:lnTo>
                    <a:pt x="296" y="9"/>
                  </a:lnTo>
                  <a:lnTo>
                    <a:pt x="301" y="7"/>
                  </a:lnTo>
                  <a:lnTo>
                    <a:pt x="296" y="2"/>
                  </a:lnTo>
                  <a:lnTo>
                    <a:pt x="285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20214;p275">
              <a:extLst>
                <a:ext uri="{FF2B5EF4-FFF2-40B4-BE49-F238E27FC236}">
                  <a16:creationId xmlns:a16="http://schemas.microsoft.com/office/drawing/2014/main" id="{9128AA5D-21CB-FC35-EB0B-4C25E113F515}"/>
                </a:ext>
              </a:extLst>
            </p:cNvPr>
            <p:cNvSpPr/>
            <p:nvPr/>
          </p:nvSpPr>
          <p:spPr>
            <a:xfrm>
              <a:off x="4303311" y="1738538"/>
              <a:ext cx="89840" cy="52013"/>
            </a:xfrm>
            <a:custGeom>
              <a:avLst/>
              <a:gdLst/>
              <a:ahLst/>
              <a:cxnLst/>
              <a:rect l="l" t="t" r="r" b="b"/>
              <a:pathLst>
                <a:path w="38" h="22" extrusionOk="0">
                  <a:moveTo>
                    <a:pt x="23" y="0"/>
                  </a:moveTo>
                  <a:lnTo>
                    <a:pt x="7" y="5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9" y="22"/>
                  </a:lnTo>
                  <a:lnTo>
                    <a:pt x="19" y="22"/>
                  </a:lnTo>
                  <a:lnTo>
                    <a:pt x="26" y="19"/>
                  </a:lnTo>
                  <a:lnTo>
                    <a:pt x="35" y="10"/>
                  </a:lnTo>
                  <a:lnTo>
                    <a:pt x="38" y="5"/>
                  </a:lnTo>
                  <a:lnTo>
                    <a:pt x="33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20215;p275">
              <a:extLst>
                <a:ext uri="{FF2B5EF4-FFF2-40B4-BE49-F238E27FC236}">
                  <a16:creationId xmlns:a16="http://schemas.microsoft.com/office/drawing/2014/main" id="{95063E3E-58DE-1569-0DB3-4F91247DE92A}"/>
                </a:ext>
              </a:extLst>
            </p:cNvPr>
            <p:cNvSpPr/>
            <p:nvPr/>
          </p:nvSpPr>
          <p:spPr>
            <a:xfrm>
              <a:off x="4303311" y="1738538"/>
              <a:ext cx="89840" cy="52013"/>
            </a:xfrm>
            <a:custGeom>
              <a:avLst/>
              <a:gdLst/>
              <a:ahLst/>
              <a:cxnLst/>
              <a:rect l="l" t="t" r="r" b="b"/>
              <a:pathLst>
                <a:path w="38" h="22" extrusionOk="0">
                  <a:moveTo>
                    <a:pt x="23" y="0"/>
                  </a:moveTo>
                  <a:lnTo>
                    <a:pt x="7" y="5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9" y="22"/>
                  </a:lnTo>
                  <a:lnTo>
                    <a:pt x="19" y="22"/>
                  </a:lnTo>
                  <a:lnTo>
                    <a:pt x="26" y="19"/>
                  </a:lnTo>
                  <a:lnTo>
                    <a:pt x="35" y="10"/>
                  </a:lnTo>
                  <a:lnTo>
                    <a:pt x="38" y="5"/>
                  </a:lnTo>
                  <a:lnTo>
                    <a:pt x="33" y="3"/>
                  </a:lnTo>
                  <a:lnTo>
                    <a:pt x="2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0216;p275">
              <a:extLst>
                <a:ext uri="{FF2B5EF4-FFF2-40B4-BE49-F238E27FC236}">
                  <a16:creationId xmlns:a16="http://schemas.microsoft.com/office/drawing/2014/main" id="{B0C53028-9252-C935-D11A-F01A84692982}"/>
                </a:ext>
              </a:extLst>
            </p:cNvPr>
            <p:cNvSpPr/>
            <p:nvPr/>
          </p:nvSpPr>
          <p:spPr>
            <a:xfrm>
              <a:off x="4296219" y="1807100"/>
              <a:ext cx="219872" cy="89840"/>
            </a:xfrm>
            <a:custGeom>
              <a:avLst/>
              <a:gdLst/>
              <a:ahLst/>
              <a:cxnLst/>
              <a:rect l="l" t="t" r="r" b="b"/>
              <a:pathLst>
                <a:path w="93" h="38" extrusionOk="0">
                  <a:moveTo>
                    <a:pt x="19" y="0"/>
                  </a:moveTo>
                  <a:lnTo>
                    <a:pt x="10" y="5"/>
                  </a:lnTo>
                  <a:lnTo>
                    <a:pt x="12" y="9"/>
                  </a:lnTo>
                  <a:lnTo>
                    <a:pt x="19" y="14"/>
                  </a:lnTo>
                  <a:lnTo>
                    <a:pt x="14" y="19"/>
                  </a:lnTo>
                  <a:lnTo>
                    <a:pt x="7" y="21"/>
                  </a:lnTo>
                  <a:lnTo>
                    <a:pt x="0" y="28"/>
                  </a:lnTo>
                  <a:lnTo>
                    <a:pt x="5" y="35"/>
                  </a:lnTo>
                  <a:lnTo>
                    <a:pt x="17" y="31"/>
                  </a:lnTo>
                  <a:lnTo>
                    <a:pt x="22" y="35"/>
                  </a:lnTo>
                  <a:lnTo>
                    <a:pt x="33" y="35"/>
                  </a:lnTo>
                  <a:lnTo>
                    <a:pt x="43" y="33"/>
                  </a:lnTo>
                  <a:lnTo>
                    <a:pt x="52" y="35"/>
                  </a:lnTo>
                  <a:lnTo>
                    <a:pt x="62" y="35"/>
                  </a:lnTo>
                  <a:lnTo>
                    <a:pt x="64" y="38"/>
                  </a:lnTo>
                  <a:lnTo>
                    <a:pt x="74" y="35"/>
                  </a:lnTo>
                  <a:lnTo>
                    <a:pt x="81" y="31"/>
                  </a:lnTo>
                  <a:lnTo>
                    <a:pt x="93" y="26"/>
                  </a:lnTo>
                  <a:lnTo>
                    <a:pt x="90" y="19"/>
                  </a:lnTo>
                  <a:lnTo>
                    <a:pt x="76" y="19"/>
                  </a:lnTo>
                  <a:lnTo>
                    <a:pt x="64" y="21"/>
                  </a:lnTo>
                  <a:lnTo>
                    <a:pt x="50" y="16"/>
                  </a:lnTo>
                  <a:lnTo>
                    <a:pt x="38" y="21"/>
                  </a:lnTo>
                  <a:lnTo>
                    <a:pt x="36" y="16"/>
                  </a:lnTo>
                  <a:lnTo>
                    <a:pt x="45" y="12"/>
                  </a:lnTo>
                  <a:lnTo>
                    <a:pt x="45" y="7"/>
                  </a:lnTo>
                  <a:lnTo>
                    <a:pt x="41" y="2"/>
                  </a:lnTo>
                  <a:lnTo>
                    <a:pt x="31" y="5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217;p275">
              <a:extLst>
                <a:ext uri="{FF2B5EF4-FFF2-40B4-BE49-F238E27FC236}">
                  <a16:creationId xmlns:a16="http://schemas.microsoft.com/office/drawing/2014/main" id="{E54CE433-8022-501F-2521-A9FA6701EA98}"/>
                </a:ext>
              </a:extLst>
            </p:cNvPr>
            <p:cNvSpPr/>
            <p:nvPr/>
          </p:nvSpPr>
          <p:spPr>
            <a:xfrm>
              <a:off x="4296219" y="1807100"/>
              <a:ext cx="219872" cy="89840"/>
            </a:xfrm>
            <a:custGeom>
              <a:avLst/>
              <a:gdLst/>
              <a:ahLst/>
              <a:cxnLst/>
              <a:rect l="l" t="t" r="r" b="b"/>
              <a:pathLst>
                <a:path w="93" h="38" extrusionOk="0">
                  <a:moveTo>
                    <a:pt x="19" y="0"/>
                  </a:moveTo>
                  <a:lnTo>
                    <a:pt x="10" y="5"/>
                  </a:lnTo>
                  <a:lnTo>
                    <a:pt x="12" y="9"/>
                  </a:lnTo>
                  <a:lnTo>
                    <a:pt x="19" y="14"/>
                  </a:lnTo>
                  <a:lnTo>
                    <a:pt x="14" y="19"/>
                  </a:lnTo>
                  <a:lnTo>
                    <a:pt x="7" y="21"/>
                  </a:lnTo>
                  <a:lnTo>
                    <a:pt x="0" y="28"/>
                  </a:lnTo>
                  <a:lnTo>
                    <a:pt x="5" y="35"/>
                  </a:lnTo>
                  <a:lnTo>
                    <a:pt x="17" y="31"/>
                  </a:lnTo>
                  <a:lnTo>
                    <a:pt x="22" y="35"/>
                  </a:lnTo>
                  <a:lnTo>
                    <a:pt x="33" y="35"/>
                  </a:lnTo>
                  <a:lnTo>
                    <a:pt x="43" y="33"/>
                  </a:lnTo>
                  <a:lnTo>
                    <a:pt x="52" y="35"/>
                  </a:lnTo>
                  <a:lnTo>
                    <a:pt x="62" y="35"/>
                  </a:lnTo>
                  <a:lnTo>
                    <a:pt x="64" y="38"/>
                  </a:lnTo>
                  <a:lnTo>
                    <a:pt x="74" y="35"/>
                  </a:lnTo>
                  <a:lnTo>
                    <a:pt x="81" y="31"/>
                  </a:lnTo>
                  <a:lnTo>
                    <a:pt x="93" y="26"/>
                  </a:lnTo>
                  <a:lnTo>
                    <a:pt x="90" y="19"/>
                  </a:lnTo>
                  <a:lnTo>
                    <a:pt x="76" y="19"/>
                  </a:lnTo>
                  <a:lnTo>
                    <a:pt x="64" y="21"/>
                  </a:lnTo>
                  <a:lnTo>
                    <a:pt x="50" y="16"/>
                  </a:lnTo>
                  <a:lnTo>
                    <a:pt x="38" y="21"/>
                  </a:lnTo>
                  <a:lnTo>
                    <a:pt x="36" y="16"/>
                  </a:lnTo>
                  <a:lnTo>
                    <a:pt x="45" y="12"/>
                  </a:lnTo>
                  <a:lnTo>
                    <a:pt x="45" y="7"/>
                  </a:lnTo>
                  <a:lnTo>
                    <a:pt x="41" y="2"/>
                  </a:lnTo>
                  <a:lnTo>
                    <a:pt x="31" y="5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218;p275">
              <a:extLst>
                <a:ext uri="{FF2B5EF4-FFF2-40B4-BE49-F238E27FC236}">
                  <a16:creationId xmlns:a16="http://schemas.microsoft.com/office/drawing/2014/main" id="{FBE8136B-ECC6-4A6C-43B4-95712DBC0EE3}"/>
                </a:ext>
              </a:extLst>
            </p:cNvPr>
            <p:cNvSpPr/>
            <p:nvPr/>
          </p:nvSpPr>
          <p:spPr>
            <a:xfrm>
              <a:off x="4140180" y="1896940"/>
              <a:ext cx="122939" cy="61470"/>
            </a:xfrm>
            <a:custGeom>
              <a:avLst/>
              <a:gdLst/>
              <a:ahLst/>
              <a:cxnLst/>
              <a:rect l="l" t="t" r="r" b="b"/>
              <a:pathLst>
                <a:path w="52" h="26" extrusionOk="0">
                  <a:moveTo>
                    <a:pt x="42" y="0"/>
                  </a:moveTo>
                  <a:lnTo>
                    <a:pt x="28" y="2"/>
                  </a:lnTo>
                  <a:lnTo>
                    <a:pt x="12" y="5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14" y="19"/>
                  </a:lnTo>
                  <a:lnTo>
                    <a:pt x="28" y="19"/>
                  </a:lnTo>
                  <a:lnTo>
                    <a:pt x="40" y="9"/>
                  </a:lnTo>
                  <a:lnTo>
                    <a:pt x="52" y="2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219;p275">
              <a:extLst>
                <a:ext uri="{FF2B5EF4-FFF2-40B4-BE49-F238E27FC236}">
                  <a16:creationId xmlns:a16="http://schemas.microsoft.com/office/drawing/2014/main" id="{535B9B41-C4B2-2CE7-19C7-4175BCC7D36B}"/>
                </a:ext>
              </a:extLst>
            </p:cNvPr>
            <p:cNvSpPr/>
            <p:nvPr/>
          </p:nvSpPr>
          <p:spPr>
            <a:xfrm>
              <a:off x="4140180" y="1896940"/>
              <a:ext cx="122939" cy="61470"/>
            </a:xfrm>
            <a:custGeom>
              <a:avLst/>
              <a:gdLst/>
              <a:ahLst/>
              <a:cxnLst/>
              <a:rect l="l" t="t" r="r" b="b"/>
              <a:pathLst>
                <a:path w="52" h="26" extrusionOk="0">
                  <a:moveTo>
                    <a:pt x="42" y="0"/>
                  </a:moveTo>
                  <a:lnTo>
                    <a:pt x="28" y="2"/>
                  </a:lnTo>
                  <a:lnTo>
                    <a:pt x="12" y="5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14" y="19"/>
                  </a:lnTo>
                  <a:lnTo>
                    <a:pt x="28" y="19"/>
                  </a:lnTo>
                  <a:lnTo>
                    <a:pt x="40" y="9"/>
                  </a:lnTo>
                  <a:lnTo>
                    <a:pt x="52" y="2"/>
                  </a:lnTo>
                  <a:lnTo>
                    <a:pt x="4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220;p275">
              <a:extLst>
                <a:ext uri="{FF2B5EF4-FFF2-40B4-BE49-F238E27FC236}">
                  <a16:creationId xmlns:a16="http://schemas.microsoft.com/office/drawing/2014/main" id="{052FE4BA-DECD-DEF0-C736-BF9DB785A008}"/>
                </a:ext>
              </a:extLst>
            </p:cNvPr>
            <p:cNvSpPr/>
            <p:nvPr/>
          </p:nvSpPr>
          <p:spPr>
            <a:xfrm>
              <a:off x="4010148" y="1896940"/>
              <a:ext cx="134761" cy="78019"/>
            </a:xfrm>
            <a:custGeom>
              <a:avLst/>
              <a:gdLst/>
              <a:ahLst/>
              <a:cxnLst/>
              <a:rect l="l" t="t" r="r" b="b"/>
              <a:pathLst>
                <a:path w="57" h="33" extrusionOk="0">
                  <a:moveTo>
                    <a:pt x="48" y="0"/>
                  </a:moveTo>
                  <a:lnTo>
                    <a:pt x="31" y="2"/>
                  </a:lnTo>
                  <a:lnTo>
                    <a:pt x="21" y="12"/>
                  </a:lnTo>
                  <a:lnTo>
                    <a:pt x="10" y="14"/>
                  </a:lnTo>
                  <a:lnTo>
                    <a:pt x="0" y="19"/>
                  </a:lnTo>
                  <a:lnTo>
                    <a:pt x="0" y="26"/>
                  </a:lnTo>
                  <a:lnTo>
                    <a:pt x="5" y="33"/>
                  </a:lnTo>
                  <a:lnTo>
                    <a:pt x="12" y="33"/>
                  </a:lnTo>
                  <a:lnTo>
                    <a:pt x="19" y="28"/>
                  </a:lnTo>
                  <a:lnTo>
                    <a:pt x="26" y="26"/>
                  </a:lnTo>
                  <a:lnTo>
                    <a:pt x="33" y="24"/>
                  </a:lnTo>
                  <a:lnTo>
                    <a:pt x="43" y="14"/>
                  </a:lnTo>
                  <a:lnTo>
                    <a:pt x="50" y="12"/>
                  </a:lnTo>
                  <a:lnTo>
                    <a:pt x="57" y="5"/>
                  </a:ln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0221;p275">
              <a:extLst>
                <a:ext uri="{FF2B5EF4-FFF2-40B4-BE49-F238E27FC236}">
                  <a16:creationId xmlns:a16="http://schemas.microsoft.com/office/drawing/2014/main" id="{42C5C5BC-79FD-4A7B-B717-B83821CEC7AD}"/>
                </a:ext>
              </a:extLst>
            </p:cNvPr>
            <p:cNvSpPr/>
            <p:nvPr/>
          </p:nvSpPr>
          <p:spPr>
            <a:xfrm>
              <a:off x="4010148" y="1896940"/>
              <a:ext cx="134761" cy="78019"/>
            </a:xfrm>
            <a:custGeom>
              <a:avLst/>
              <a:gdLst/>
              <a:ahLst/>
              <a:cxnLst/>
              <a:rect l="l" t="t" r="r" b="b"/>
              <a:pathLst>
                <a:path w="57" h="33" extrusionOk="0">
                  <a:moveTo>
                    <a:pt x="48" y="0"/>
                  </a:moveTo>
                  <a:lnTo>
                    <a:pt x="31" y="2"/>
                  </a:lnTo>
                  <a:lnTo>
                    <a:pt x="21" y="12"/>
                  </a:lnTo>
                  <a:lnTo>
                    <a:pt x="10" y="14"/>
                  </a:lnTo>
                  <a:lnTo>
                    <a:pt x="0" y="19"/>
                  </a:lnTo>
                  <a:lnTo>
                    <a:pt x="0" y="26"/>
                  </a:lnTo>
                  <a:lnTo>
                    <a:pt x="5" y="33"/>
                  </a:lnTo>
                  <a:lnTo>
                    <a:pt x="12" y="33"/>
                  </a:lnTo>
                  <a:lnTo>
                    <a:pt x="19" y="28"/>
                  </a:lnTo>
                  <a:lnTo>
                    <a:pt x="26" y="26"/>
                  </a:lnTo>
                  <a:lnTo>
                    <a:pt x="33" y="24"/>
                  </a:lnTo>
                  <a:lnTo>
                    <a:pt x="43" y="14"/>
                  </a:lnTo>
                  <a:lnTo>
                    <a:pt x="50" y="12"/>
                  </a:lnTo>
                  <a:lnTo>
                    <a:pt x="57" y="5"/>
                  </a:lnTo>
                  <a:lnTo>
                    <a:pt x="48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0222;p275">
              <a:extLst>
                <a:ext uri="{FF2B5EF4-FFF2-40B4-BE49-F238E27FC236}">
                  <a16:creationId xmlns:a16="http://schemas.microsoft.com/office/drawing/2014/main" id="{08F53C86-E031-71DC-A59A-5366ACE752CF}"/>
                </a:ext>
              </a:extLst>
            </p:cNvPr>
            <p:cNvSpPr/>
            <p:nvPr/>
          </p:nvSpPr>
          <p:spPr>
            <a:xfrm>
              <a:off x="3655515" y="1901669"/>
              <a:ext cx="359361" cy="163131"/>
            </a:xfrm>
            <a:custGeom>
              <a:avLst/>
              <a:gdLst/>
              <a:ahLst/>
              <a:cxnLst/>
              <a:rect l="l" t="t" r="r" b="b"/>
              <a:pathLst>
                <a:path w="152" h="69" extrusionOk="0">
                  <a:moveTo>
                    <a:pt x="148" y="0"/>
                  </a:moveTo>
                  <a:lnTo>
                    <a:pt x="136" y="3"/>
                  </a:lnTo>
                  <a:lnTo>
                    <a:pt x="131" y="10"/>
                  </a:lnTo>
                  <a:lnTo>
                    <a:pt x="122" y="7"/>
                  </a:lnTo>
                  <a:lnTo>
                    <a:pt x="110" y="12"/>
                  </a:lnTo>
                  <a:lnTo>
                    <a:pt x="100" y="24"/>
                  </a:lnTo>
                  <a:lnTo>
                    <a:pt x="95" y="29"/>
                  </a:lnTo>
                  <a:lnTo>
                    <a:pt x="88" y="29"/>
                  </a:lnTo>
                  <a:lnTo>
                    <a:pt x="98" y="17"/>
                  </a:lnTo>
                  <a:lnTo>
                    <a:pt x="93" y="12"/>
                  </a:lnTo>
                  <a:lnTo>
                    <a:pt x="83" y="17"/>
                  </a:lnTo>
                  <a:lnTo>
                    <a:pt x="72" y="17"/>
                  </a:lnTo>
                  <a:lnTo>
                    <a:pt x="50" y="12"/>
                  </a:lnTo>
                  <a:lnTo>
                    <a:pt x="43" y="17"/>
                  </a:lnTo>
                  <a:lnTo>
                    <a:pt x="34" y="22"/>
                  </a:lnTo>
                  <a:lnTo>
                    <a:pt x="26" y="26"/>
                  </a:lnTo>
                  <a:lnTo>
                    <a:pt x="26" y="31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45" y="38"/>
                  </a:lnTo>
                  <a:lnTo>
                    <a:pt x="53" y="43"/>
                  </a:lnTo>
                  <a:lnTo>
                    <a:pt x="34" y="45"/>
                  </a:lnTo>
                  <a:lnTo>
                    <a:pt x="15" y="45"/>
                  </a:lnTo>
                  <a:lnTo>
                    <a:pt x="0" y="55"/>
                  </a:lnTo>
                  <a:lnTo>
                    <a:pt x="7" y="64"/>
                  </a:lnTo>
                  <a:lnTo>
                    <a:pt x="24" y="69"/>
                  </a:lnTo>
                  <a:lnTo>
                    <a:pt x="48" y="62"/>
                  </a:lnTo>
                  <a:lnTo>
                    <a:pt x="64" y="55"/>
                  </a:lnTo>
                  <a:lnTo>
                    <a:pt x="74" y="55"/>
                  </a:lnTo>
                  <a:lnTo>
                    <a:pt x="76" y="60"/>
                  </a:lnTo>
                  <a:lnTo>
                    <a:pt x="102" y="60"/>
                  </a:lnTo>
                  <a:lnTo>
                    <a:pt x="107" y="53"/>
                  </a:lnTo>
                  <a:lnTo>
                    <a:pt x="122" y="50"/>
                  </a:lnTo>
                  <a:lnTo>
                    <a:pt x="126" y="45"/>
                  </a:lnTo>
                  <a:lnTo>
                    <a:pt x="117" y="43"/>
                  </a:lnTo>
                  <a:lnTo>
                    <a:pt x="112" y="36"/>
                  </a:lnTo>
                  <a:lnTo>
                    <a:pt x="114" y="31"/>
                  </a:lnTo>
                  <a:lnTo>
                    <a:pt x="126" y="24"/>
                  </a:lnTo>
                  <a:lnTo>
                    <a:pt x="129" y="17"/>
                  </a:lnTo>
                  <a:lnTo>
                    <a:pt x="136" y="15"/>
                  </a:lnTo>
                  <a:lnTo>
                    <a:pt x="148" y="10"/>
                  </a:lnTo>
                  <a:lnTo>
                    <a:pt x="152" y="5"/>
                  </a:lnTo>
                  <a:lnTo>
                    <a:pt x="1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0223;p275">
              <a:extLst>
                <a:ext uri="{FF2B5EF4-FFF2-40B4-BE49-F238E27FC236}">
                  <a16:creationId xmlns:a16="http://schemas.microsoft.com/office/drawing/2014/main" id="{5BF6A22E-25BB-DDE3-3A03-FB7F976E282A}"/>
                </a:ext>
              </a:extLst>
            </p:cNvPr>
            <p:cNvSpPr/>
            <p:nvPr/>
          </p:nvSpPr>
          <p:spPr>
            <a:xfrm>
              <a:off x="3655515" y="1901669"/>
              <a:ext cx="359361" cy="163131"/>
            </a:xfrm>
            <a:custGeom>
              <a:avLst/>
              <a:gdLst/>
              <a:ahLst/>
              <a:cxnLst/>
              <a:rect l="l" t="t" r="r" b="b"/>
              <a:pathLst>
                <a:path w="152" h="69" extrusionOk="0">
                  <a:moveTo>
                    <a:pt x="148" y="0"/>
                  </a:moveTo>
                  <a:lnTo>
                    <a:pt x="136" y="3"/>
                  </a:lnTo>
                  <a:lnTo>
                    <a:pt x="131" y="10"/>
                  </a:lnTo>
                  <a:lnTo>
                    <a:pt x="122" y="7"/>
                  </a:lnTo>
                  <a:lnTo>
                    <a:pt x="110" y="12"/>
                  </a:lnTo>
                  <a:lnTo>
                    <a:pt x="100" y="24"/>
                  </a:lnTo>
                  <a:lnTo>
                    <a:pt x="95" y="29"/>
                  </a:lnTo>
                  <a:lnTo>
                    <a:pt x="88" y="29"/>
                  </a:lnTo>
                  <a:lnTo>
                    <a:pt x="98" y="17"/>
                  </a:lnTo>
                  <a:lnTo>
                    <a:pt x="93" y="12"/>
                  </a:lnTo>
                  <a:lnTo>
                    <a:pt x="83" y="17"/>
                  </a:lnTo>
                  <a:lnTo>
                    <a:pt x="72" y="17"/>
                  </a:lnTo>
                  <a:lnTo>
                    <a:pt x="50" y="12"/>
                  </a:lnTo>
                  <a:lnTo>
                    <a:pt x="43" y="17"/>
                  </a:lnTo>
                  <a:lnTo>
                    <a:pt x="34" y="22"/>
                  </a:lnTo>
                  <a:lnTo>
                    <a:pt x="26" y="26"/>
                  </a:lnTo>
                  <a:lnTo>
                    <a:pt x="26" y="31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45" y="38"/>
                  </a:lnTo>
                  <a:lnTo>
                    <a:pt x="53" y="43"/>
                  </a:lnTo>
                  <a:lnTo>
                    <a:pt x="34" y="45"/>
                  </a:lnTo>
                  <a:lnTo>
                    <a:pt x="15" y="45"/>
                  </a:lnTo>
                  <a:lnTo>
                    <a:pt x="0" y="55"/>
                  </a:lnTo>
                  <a:lnTo>
                    <a:pt x="7" y="64"/>
                  </a:lnTo>
                  <a:lnTo>
                    <a:pt x="24" y="69"/>
                  </a:lnTo>
                  <a:lnTo>
                    <a:pt x="48" y="62"/>
                  </a:lnTo>
                  <a:lnTo>
                    <a:pt x="64" y="55"/>
                  </a:lnTo>
                  <a:lnTo>
                    <a:pt x="74" y="55"/>
                  </a:lnTo>
                  <a:lnTo>
                    <a:pt x="76" y="60"/>
                  </a:lnTo>
                  <a:lnTo>
                    <a:pt x="102" y="60"/>
                  </a:lnTo>
                  <a:lnTo>
                    <a:pt x="107" y="53"/>
                  </a:lnTo>
                  <a:lnTo>
                    <a:pt x="122" y="50"/>
                  </a:lnTo>
                  <a:lnTo>
                    <a:pt x="126" y="45"/>
                  </a:lnTo>
                  <a:lnTo>
                    <a:pt x="117" y="43"/>
                  </a:lnTo>
                  <a:lnTo>
                    <a:pt x="112" y="36"/>
                  </a:lnTo>
                  <a:lnTo>
                    <a:pt x="114" y="31"/>
                  </a:lnTo>
                  <a:lnTo>
                    <a:pt x="126" y="24"/>
                  </a:lnTo>
                  <a:lnTo>
                    <a:pt x="129" y="17"/>
                  </a:lnTo>
                  <a:lnTo>
                    <a:pt x="136" y="15"/>
                  </a:lnTo>
                  <a:lnTo>
                    <a:pt x="148" y="10"/>
                  </a:lnTo>
                  <a:lnTo>
                    <a:pt x="152" y="5"/>
                  </a:lnTo>
                  <a:lnTo>
                    <a:pt x="148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0224;p275">
              <a:extLst>
                <a:ext uri="{FF2B5EF4-FFF2-40B4-BE49-F238E27FC236}">
                  <a16:creationId xmlns:a16="http://schemas.microsoft.com/office/drawing/2014/main" id="{42D1C82B-D5FD-C357-D1DD-820B5A48E04B}"/>
                </a:ext>
              </a:extLst>
            </p:cNvPr>
            <p:cNvSpPr/>
            <p:nvPr/>
          </p:nvSpPr>
          <p:spPr>
            <a:xfrm>
              <a:off x="3594045" y="1880391"/>
              <a:ext cx="264793" cy="106390"/>
            </a:xfrm>
            <a:custGeom>
              <a:avLst/>
              <a:gdLst/>
              <a:ahLst/>
              <a:cxnLst/>
              <a:rect l="l" t="t" r="r" b="b"/>
              <a:pathLst>
                <a:path w="112" h="45" extrusionOk="0">
                  <a:moveTo>
                    <a:pt x="83" y="0"/>
                  </a:moveTo>
                  <a:lnTo>
                    <a:pt x="71" y="2"/>
                  </a:lnTo>
                  <a:lnTo>
                    <a:pt x="60" y="4"/>
                  </a:lnTo>
                  <a:lnTo>
                    <a:pt x="50" y="9"/>
                  </a:lnTo>
                  <a:lnTo>
                    <a:pt x="43" y="16"/>
                  </a:lnTo>
                  <a:lnTo>
                    <a:pt x="29" y="19"/>
                  </a:lnTo>
                  <a:lnTo>
                    <a:pt x="19" y="26"/>
                  </a:lnTo>
                  <a:lnTo>
                    <a:pt x="7" y="28"/>
                  </a:lnTo>
                  <a:lnTo>
                    <a:pt x="0" y="35"/>
                  </a:lnTo>
                  <a:lnTo>
                    <a:pt x="0" y="43"/>
                  </a:lnTo>
                  <a:lnTo>
                    <a:pt x="5" y="45"/>
                  </a:lnTo>
                  <a:lnTo>
                    <a:pt x="14" y="40"/>
                  </a:lnTo>
                  <a:lnTo>
                    <a:pt x="26" y="40"/>
                  </a:lnTo>
                  <a:lnTo>
                    <a:pt x="38" y="35"/>
                  </a:lnTo>
                  <a:lnTo>
                    <a:pt x="50" y="28"/>
                  </a:lnTo>
                  <a:lnTo>
                    <a:pt x="60" y="24"/>
                  </a:lnTo>
                  <a:lnTo>
                    <a:pt x="79" y="14"/>
                  </a:lnTo>
                  <a:lnTo>
                    <a:pt x="98" y="16"/>
                  </a:lnTo>
                  <a:lnTo>
                    <a:pt x="109" y="14"/>
                  </a:lnTo>
                  <a:lnTo>
                    <a:pt x="112" y="4"/>
                  </a:lnTo>
                  <a:lnTo>
                    <a:pt x="105" y="0"/>
                  </a:lnTo>
                  <a:lnTo>
                    <a:pt x="93" y="2"/>
                  </a:lnTo>
                  <a:lnTo>
                    <a:pt x="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0225;p275">
              <a:extLst>
                <a:ext uri="{FF2B5EF4-FFF2-40B4-BE49-F238E27FC236}">
                  <a16:creationId xmlns:a16="http://schemas.microsoft.com/office/drawing/2014/main" id="{6383F7D7-ADAA-8854-6CD8-06C405281624}"/>
                </a:ext>
              </a:extLst>
            </p:cNvPr>
            <p:cNvSpPr/>
            <p:nvPr/>
          </p:nvSpPr>
          <p:spPr>
            <a:xfrm>
              <a:off x="3594045" y="1880391"/>
              <a:ext cx="264793" cy="106390"/>
            </a:xfrm>
            <a:custGeom>
              <a:avLst/>
              <a:gdLst/>
              <a:ahLst/>
              <a:cxnLst/>
              <a:rect l="l" t="t" r="r" b="b"/>
              <a:pathLst>
                <a:path w="112" h="45" extrusionOk="0">
                  <a:moveTo>
                    <a:pt x="83" y="0"/>
                  </a:moveTo>
                  <a:lnTo>
                    <a:pt x="71" y="2"/>
                  </a:lnTo>
                  <a:lnTo>
                    <a:pt x="60" y="4"/>
                  </a:lnTo>
                  <a:lnTo>
                    <a:pt x="50" y="9"/>
                  </a:lnTo>
                  <a:lnTo>
                    <a:pt x="43" y="16"/>
                  </a:lnTo>
                  <a:lnTo>
                    <a:pt x="29" y="19"/>
                  </a:lnTo>
                  <a:lnTo>
                    <a:pt x="19" y="26"/>
                  </a:lnTo>
                  <a:lnTo>
                    <a:pt x="7" y="28"/>
                  </a:lnTo>
                  <a:lnTo>
                    <a:pt x="0" y="35"/>
                  </a:lnTo>
                  <a:lnTo>
                    <a:pt x="0" y="43"/>
                  </a:lnTo>
                  <a:lnTo>
                    <a:pt x="5" y="45"/>
                  </a:lnTo>
                  <a:lnTo>
                    <a:pt x="14" y="40"/>
                  </a:lnTo>
                  <a:lnTo>
                    <a:pt x="26" y="40"/>
                  </a:lnTo>
                  <a:lnTo>
                    <a:pt x="38" y="35"/>
                  </a:lnTo>
                  <a:lnTo>
                    <a:pt x="50" y="28"/>
                  </a:lnTo>
                  <a:lnTo>
                    <a:pt x="60" y="24"/>
                  </a:lnTo>
                  <a:lnTo>
                    <a:pt x="79" y="14"/>
                  </a:lnTo>
                  <a:lnTo>
                    <a:pt x="98" y="16"/>
                  </a:lnTo>
                  <a:lnTo>
                    <a:pt x="109" y="14"/>
                  </a:lnTo>
                  <a:lnTo>
                    <a:pt x="112" y="4"/>
                  </a:lnTo>
                  <a:lnTo>
                    <a:pt x="105" y="0"/>
                  </a:lnTo>
                  <a:lnTo>
                    <a:pt x="93" y="2"/>
                  </a:lnTo>
                  <a:lnTo>
                    <a:pt x="8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20226;p275">
              <a:extLst>
                <a:ext uri="{FF2B5EF4-FFF2-40B4-BE49-F238E27FC236}">
                  <a16:creationId xmlns:a16="http://schemas.microsoft.com/office/drawing/2014/main" id="{A55B65A8-BD32-45ED-803A-87E019222E01}"/>
                </a:ext>
              </a:extLst>
            </p:cNvPr>
            <p:cNvSpPr/>
            <p:nvPr/>
          </p:nvSpPr>
          <p:spPr>
            <a:xfrm>
              <a:off x="3925036" y="1811828"/>
              <a:ext cx="203323" cy="78019"/>
            </a:xfrm>
            <a:custGeom>
              <a:avLst/>
              <a:gdLst/>
              <a:ahLst/>
              <a:cxnLst/>
              <a:rect l="l" t="t" r="r" b="b"/>
              <a:pathLst>
                <a:path w="86" h="33" extrusionOk="0">
                  <a:moveTo>
                    <a:pt x="79" y="0"/>
                  </a:moveTo>
                  <a:lnTo>
                    <a:pt x="69" y="0"/>
                  </a:lnTo>
                  <a:lnTo>
                    <a:pt x="57" y="5"/>
                  </a:lnTo>
                  <a:lnTo>
                    <a:pt x="48" y="10"/>
                  </a:lnTo>
                  <a:lnTo>
                    <a:pt x="38" y="5"/>
                  </a:lnTo>
                  <a:lnTo>
                    <a:pt x="24" y="7"/>
                  </a:lnTo>
                  <a:lnTo>
                    <a:pt x="8" y="14"/>
                  </a:lnTo>
                  <a:lnTo>
                    <a:pt x="0" y="19"/>
                  </a:lnTo>
                  <a:lnTo>
                    <a:pt x="5" y="26"/>
                  </a:lnTo>
                  <a:lnTo>
                    <a:pt x="10" y="29"/>
                  </a:lnTo>
                  <a:lnTo>
                    <a:pt x="10" y="33"/>
                  </a:lnTo>
                  <a:lnTo>
                    <a:pt x="19" y="33"/>
                  </a:lnTo>
                  <a:lnTo>
                    <a:pt x="36" y="31"/>
                  </a:lnTo>
                  <a:lnTo>
                    <a:pt x="55" y="26"/>
                  </a:lnTo>
                  <a:lnTo>
                    <a:pt x="74" y="19"/>
                  </a:lnTo>
                  <a:lnTo>
                    <a:pt x="86" y="14"/>
                  </a:lnTo>
                  <a:lnTo>
                    <a:pt x="84" y="10"/>
                  </a:lnTo>
                  <a:lnTo>
                    <a:pt x="74" y="10"/>
                  </a:ln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20227;p275">
              <a:extLst>
                <a:ext uri="{FF2B5EF4-FFF2-40B4-BE49-F238E27FC236}">
                  <a16:creationId xmlns:a16="http://schemas.microsoft.com/office/drawing/2014/main" id="{8661093B-55BA-E698-4192-BEDA46B7D640}"/>
                </a:ext>
              </a:extLst>
            </p:cNvPr>
            <p:cNvSpPr/>
            <p:nvPr/>
          </p:nvSpPr>
          <p:spPr>
            <a:xfrm>
              <a:off x="3925036" y="1811828"/>
              <a:ext cx="203323" cy="78019"/>
            </a:xfrm>
            <a:custGeom>
              <a:avLst/>
              <a:gdLst/>
              <a:ahLst/>
              <a:cxnLst/>
              <a:rect l="l" t="t" r="r" b="b"/>
              <a:pathLst>
                <a:path w="86" h="33" extrusionOk="0">
                  <a:moveTo>
                    <a:pt x="79" y="0"/>
                  </a:moveTo>
                  <a:lnTo>
                    <a:pt x="69" y="0"/>
                  </a:lnTo>
                  <a:lnTo>
                    <a:pt x="57" y="5"/>
                  </a:lnTo>
                  <a:lnTo>
                    <a:pt x="48" y="10"/>
                  </a:lnTo>
                  <a:lnTo>
                    <a:pt x="38" y="5"/>
                  </a:lnTo>
                  <a:lnTo>
                    <a:pt x="24" y="7"/>
                  </a:lnTo>
                  <a:lnTo>
                    <a:pt x="8" y="14"/>
                  </a:lnTo>
                  <a:lnTo>
                    <a:pt x="0" y="19"/>
                  </a:lnTo>
                  <a:lnTo>
                    <a:pt x="5" y="26"/>
                  </a:lnTo>
                  <a:lnTo>
                    <a:pt x="10" y="29"/>
                  </a:lnTo>
                  <a:lnTo>
                    <a:pt x="10" y="33"/>
                  </a:lnTo>
                  <a:lnTo>
                    <a:pt x="19" y="33"/>
                  </a:lnTo>
                  <a:lnTo>
                    <a:pt x="36" y="31"/>
                  </a:lnTo>
                  <a:lnTo>
                    <a:pt x="55" y="26"/>
                  </a:lnTo>
                  <a:lnTo>
                    <a:pt x="74" y="19"/>
                  </a:lnTo>
                  <a:lnTo>
                    <a:pt x="86" y="14"/>
                  </a:lnTo>
                  <a:lnTo>
                    <a:pt x="84" y="10"/>
                  </a:lnTo>
                  <a:lnTo>
                    <a:pt x="74" y="10"/>
                  </a:lnTo>
                  <a:lnTo>
                    <a:pt x="7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0228;p275">
              <a:extLst>
                <a:ext uri="{FF2B5EF4-FFF2-40B4-BE49-F238E27FC236}">
                  <a16:creationId xmlns:a16="http://schemas.microsoft.com/office/drawing/2014/main" id="{F66C3681-9E33-99BB-6128-5C7D70409A56}"/>
                </a:ext>
              </a:extLst>
            </p:cNvPr>
            <p:cNvSpPr/>
            <p:nvPr/>
          </p:nvSpPr>
          <p:spPr>
            <a:xfrm>
              <a:off x="3887209" y="1790550"/>
              <a:ext cx="156038" cy="44920"/>
            </a:xfrm>
            <a:custGeom>
              <a:avLst/>
              <a:gdLst/>
              <a:ahLst/>
              <a:cxnLst/>
              <a:rect l="l" t="t" r="r" b="b"/>
              <a:pathLst>
                <a:path w="66" h="19" extrusionOk="0">
                  <a:moveTo>
                    <a:pt x="64" y="0"/>
                  </a:moveTo>
                  <a:lnTo>
                    <a:pt x="50" y="2"/>
                  </a:lnTo>
                  <a:lnTo>
                    <a:pt x="43" y="4"/>
                  </a:lnTo>
                  <a:lnTo>
                    <a:pt x="26" y="7"/>
                  </a:lnTo>
                  <a:lnTo>
                    <a:pt x="12" y="7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21" y="19"/>
                  </a:lnTo>
                  <a:lnTo>
                    <a:pt x="43" y="9"/>
                  </a:lnTo>
                  <a:lnTo>
                    <a:pt x="54" y="9"/>
                  </a:lnTo>
                  <a:lnTo>
                    <a:pt x="64" y="7"/>
                  </a:lnTo>
                  <a:lnTo>
                    <a:pt x="66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0229;p275">
              <a:extLst>
                <a:ext uri="{FF2B5EF4-FFF2-40B4-BE49-F238E27FC236}">
                  <a16:creationId xmlns:a16="http://schemas.microsoft.com/office/drawing/2014/main" id="{923AD247-ECD2-DE28-B91A-7E4C0076E02A}"/>
                </a:ext>
              </a:extLst>
            </p:cNvPr>
            <p:cNvSpPr/>
            <p:nvPr/>
          </p:nvSpPr>
          <p:spPr>
            <a:xfrm>
              <a:off x="3887209" y="1790550"/>
              <a:ext cx="156038" cy="44920"/>
            </a:xfrm>
            <a:custGeom>
              <a:avLst/>
              <a:gdLst/>
              <a:ahLst/>
              <a:cxnLst/>
              <a:rect l="l" t="t" r="r" b="b"/>
              <a:pathLst>
                <a:path w="66" h="19" extrusionOk="0">
                  <a:moveTo>
                    <a:pt x="64" y="0"/>
                  </a:moveTo>
                  <a:lnTo>
                    <a:pt x="50" y="2"/>
                  </a:lnTo>
                  <a:lnTo>
                    <a:pt x="43" y="4"/>
                  </a:lnTo>
                  <a:lnTo>
                    <a:pt x="26" y="7"/>
                  </a:lnTo>
                  <a:lnTo>
                    <a:pt x="12" y="7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21" y="19"/>
                  </a:lnTo>
                  <a:lnTo>
                    <a:pt x="43" y="9"/>
                  </a:lnTo>
                  <a:lnTo>
                    <a:pt x="54" y="9"/>
                  </a:lnTo>
                  <a:lnTo>
                    <a:pt x="64" y="7"/>
                  </a:lnTo>
                  <a:lnTo>
                    <a:pt x="66" y="2"/>
                  </a:lnTo>
                  <a:lnTo>
                    <a:pt x="6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20230;p275">
              <a:extLst>
                <a:ext uri="{FF2B5EF4-FFF2-40B4-BE49-F238E27FC236}">
                  <a16:creationId xmlns:a16="http://schemas.microsoft.com/office/drawing/2014/main" id="{27BA16FB-E436-90D2-1FB7-057CC697F17E}"/>
                </a:ext>
              </a:extLst>
            </p:cNvPr>
            <p:cNvSpPr/>
            <p:nvPr/>
          </p:nvSpPr>
          <p:spPr>
            <a:xfrm>
              <a:off x="4206378" y="1901669"/>
              <a:ext cx="366454" cy="361725"/>
            </a:xfrm>
            <a:custGeom>
              <a:avLst/>
              <a:gdLst/>
              <a:ahLst/>
              <a:cxnLst/>
              <a:rect l="l" t="t" r="r" b="b"/>
              <a:pathLst>
                <a:path w="155" h="153" extrusionOk="0">
                  <a:moveTo>
                    <a:pt x="64" y="0"/>
                  </a:moveTo>
                  <a:lnTo>
                    <a:pt x="48" y="5"/>
                  </a:lnTo>
                  <a:lnTo>
                    <a:pt x="31" y="10"/>
                  </a:lnTo>
                  <a:lnTo>
                    <a:pt x="10" y="19"/>
                  </a:lnTo>
                  <a:lnTo>
                    <a:pt x="3" y="24"/>
                  </a:lnTo>
                  <a:lnTo>
                    <a:pt x="0" y="43"/>
                  </a:lnTo>
                  <a:lnTo>
                    <a:pt x="3" y="45"/>
                  </a:lnTo>
                  <a:lnTo>
                    <a:pt x="36" y="48"/>
                  </a:lnTo>
                  <a:lnTo>
                    <a:pt x="48" y="55"/>
                  </a:lnTo>
                  <a:lnTo>
                    <a:pt x="64" y="50"/>
                  </a:lnTo>
                  <a:lnTo>
                    <a:pt x="71" y="53"/>
                  </a:lnTo>
                  <a:lnTo>
                    <a:pt x="69" y="67"/>
                  </a:lnTo>
                  <a:lnTo>
                    <a:pt x="71" y="72"/>
                  </a:lnTo>
                  <a:lnTo>
                    <a:pt x="79" y="74"/>
                  </a:lnTo>
                  <a:lnTo>
                    <a:pt x="83" y="84"/>
                  </a:lnTo>
                  <a:lnTo>
                    <a:pt x="67" y="93"/>
                  </a:lnTo>
                  <a:lnTo>
                    <a:pt x="57" y="103"/>
                  </a:lnTo>
                  <a:lnTo>
                    <a:pt x="45" y="98"/>
                  </a:lnTo>
                  <a:lnTo>
                    <a:pt x="31" y="98"/>
                  </a:lnTo>
                  <a:lnTo>
                    <a:pt x="22" y="105"/>
                  </a:lnTo>
                  <a:lnTo>
                    <a:pt x="14" y="114"/>
                  </a:lnTo>
                  <a:lnTo>
                    <a:pt x="22" y="119"/>
                  </a:lnTo>
                  <a:lnTo>
                    <a:pt x="29" y="122"/>
                  </a:lnTo>
                  <a:lnTo>
                    <a:pt x="36" y="126"/>
                  </a:lnTo>
                  <a:lnTo>
                    <a:pt x="45" y="126"/>
                  </a:lnTo>
                  <a:lnTo>
                    <a:pt x="50" y="131"/>
                  </a:lnTo>
                  <a:lnTo>
                    <a:pt x="52" y="136"/>
                  </a:lnTo>
                  <a:lnTo>
                    <a:pt x="60" y="141"/>
                  </a:lnTo>
                  <a:lnTo>
                    <a:pt x="64" y="145"/>
                  </a:lnTo>
                  <a:lnTo>
                    <a:pt x="74" y="148"/>
                  </a:lnTo>
                  <a:lnTo>
                    <a:pt x="81" y="153"/>
                  </a:lnTo>
                  <a:lnTo>
                    <a:pt x="88" y="150"/>
                  </a:lnTo>
                  <a:lnTo>
                    <a:pt x="88" y="141"/>
                  </a:lnTo>
                  <a:lnTo>
                    <a:pt x="81" y="136"/>
                  </a:lnTo>
                  <a:lnTo>
                    <a:pt x="81" y="126"/>
                  </a:lnTo>
                  <a:lnTo>
                    <a:pt x="88" y="126"/>
                  </a:lnTo>
                  <a:lnTo>
                    <a:pt x="93" y="136"/>
                  </a:lnTo>
                  <a:lnTo>
                    <a:pt x="100" y="141"/>
                  </a:lnTo>
                  <a:lnTo>
                    <a:pt x="107" y="138"/>
                  </a:lnTo>
                  <a:lnTo>
                    <a:pt x="109" y="129"/>
                  </a:lnTo>
                  <a:lnTo>
                    <a:pt x="112" y="119"/>
                  </a:lnTo>
                  <a:lnTo>
                    <a:pt x="109" y="110"/>
                  </a:lnTo>
                  <a:lnTo>
                    <a:pt x="107" y="105"/>
                  </a:lnTo>
                  <a:lnTo>
                    <a:pt x="109" y="98"/>
                  </a:lnTo>
                  <a:lnTo>
                    <a:pt x="121" y="95"/>
                  </a:lnTo>
                  <a:lnTo>
                    <a:pt x="128" y="98"/>
                  </a:lnTo>
                  <a:lnTo>
                    <a:pt x="126" y="107"/>
                  </a:lnTo>
                  <a:lnTo>
                    <a:pt x="124" y="117"/>
                  </a:lnTo>
                  <a:lnTo>
                    <a:pt x="128" y="119"/>
                  </a:lnTo>
                  <a:lnTo>
                    <a:pt x="138" y="114"/>
                  </a:lnTo>
                  <a:lnTo>
                    <a:pt x="155" y="103"/>
                  </a:lnTo>
                  <a:lnTo>
                    <a:pt x="152" y="91"/>
                  </a:lnTo>
                  <a:lnTo>
                    <a:pt x="150" y="84"/>
                  </a:lnTo>
                  <a:lnTo>
                    <a:pt x="138" y="79"/>
                  </a:lnTo>
                  <a:lnTo>
                    <a:pt x="128" y="72"/>
                  </a:lnTo>
                  <a:lnTo>
                    <a:pt x="124" y="62"/>
                  </a:lnTo>
                  <a:lnTo>
                    <a:pt x="131" y="60"/>
                  </a:lnTo>
                  <a:lnTo>
                    <a:pt x="140" y="55"/>
                  </a:lnTo>
                  <a:lnTo>
                    <a:pt x="136" y="50"/>
                  </a:lnTo>
                  <a:lnTo>
                    <a:pt x="140" y="43"/>
                  </a:lnTo>
                  <a:lnTo>
                    <a:pt x="133" y="41"/>
                  </a:lnTo>
                  <a:lnTo>
                    <a:pt x="131" y="31"/>
                  </a:lnTo>
                  <a:lnTo>
                    <a:pt x="124" y="31"/>
                  </a:lnTo>
                  <a:lnTo>
                    <a:pt x="117" y="29"/>
                  </a:lnTo>
                  <a:lnTo>
                    <a:pt x="102" y="24"/>
                  </a:lnTo>
                  <a:lnTo>
                    <a:pt x="88" y="24"/>
                  </a:lnTo>
                  <a:lnTo>
                    <a:pt x="79" y="29"/>
                  </a:lnTo>
                  <a:lnTo>
                    <a:pt x="76" y="24"/>
                  </a:lnTo>
                  <a:lnTo>
                    <a:pt x="76" y="19"/>
                  </a:lnTo>
                  <a:lnTo>
                    <a:pt x="83" y="17"/>
                  </a:lnTo>
                  <a:lnTo>
                    <a:pt x="90" y="10"/>
                  </a:lnTo>
                  <a:lnTo>
                    <a:pt x="88" y="5"/>
                  </a:lnTo>
                  <a:lnTo>
                    <a:pt x="79" y="10"/>
                  </a:lnTo>
                  <a:lnTo>
                    <a:pt x="64" y="17"/>
                  </a:lnTo>
                  <a:lnTo>
                    <a:pt x="55" y="22"/>
                  </a:lnTo>
                  <a:lnTo>
                    <a:pt x="48" y="24"/>
                  </a:lnTo>
                  <a:lnTo>
                    <a:pt x="36" y="34"/>
                  </a:lnTo>
                  <a:lnTo>
                    <a:pt x="26" y="34"/>
                  </a:lnTo>
                  <a:lnTo>
                    <a:pt x="36" y="22"/>
                  </a:lnTo>
                  <a:lnTo>
                    <a:pt x="43" y="17"/>
                  </a:lnTo>
                  <a:lnTo>
                    <a:pt x="55" y="15"/>
                  </a:lnTo>
                  <a:lnTo>
                    <a:pt x="67" y="10"/>
                  </a:lnTo>
                  <a:lnTo>
                    <a:pt x="71" y="5"/>
                  </a:ln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20231;p275">
              <a:extLst>
                <a:ext uri="{FF2B5EF4-FFF2-40B4-BE49-F238E27FC236}">
                  <a16:creationId xmlns:a16="http://schemas.microsoft.com/office/drawing/2014/main" id="{4FBCBB5C-B023-628B-1059-0ACA7334A378}"/>
                </a:ext>
              </a:extLst>
            </p:cNvPr>
            <p:cNvSpPr/>
            <p:nvPr/>
          </p:nvSpPr>
          <p:spPr>
            <a:xfrm>
              <a:off x="4206378" y="1901669"/>
              <a:ext cx="366454" cy="361725"/>
            </a:xfrm>
            <a:custGeom>
              <a:avLst/>
              <a:gdLst/>
              <a:ahLst/>
              <a:cxnLst/>
              <a:rect l="l" t="t" r="r" b="b"/>
              <a:pathLst>
                <a:path w="155" h="153" extrusionOk="0">
                  <a:moveTo>
                    <a:pt x="64" y="0"/>
                  </a:moveTo>
                  <a:lnTo>
                    <a:pt x="48" y="5"/>
                  </a:lnTo>
                  <a:lnTo>
                    <a:pt x="31" y="10"/>
                  </a:lnTo>
                  <a:lnTo>
                    <a:pt x="10" y="19"/>
                  </a:lnTo>
                  <a:lnTo>
                    <a:pt x="3" y="24"/>
                  </a:lnTo>
                  <a:lnTo>
                    <a:pt x="0" y="43"/>
                  </a:lnTo>
                  <a:lnTo>
                    <a:pt x="3" y="45"/>
                  </a:lnTo>
                  <a:lnTo>
                    <a:pt x="36" y="48"/>
                  </a:lnTo>
                  <a:lnTo>
                    <a:pt x="48" y="55"/>
                  </a:lnTo>
                  <a:lnTo>
                    <a:pt x="64" y="50"/>
                  </a:lnTo>
                  <a:lnTo>
                    <a:pt x="71" y="53"/>
                  </a:lnTo>
                  <a:lnTo>
                    <a:pt x="69" y="67"/>
                  </a:lnTo>
                  <a:lnTo>
                    <a:pt x="71" y="72"/>
                  </a:lnTo>
                  <a:lnTo>
                    <a:pt x="79" y="74"/>
                  </a:lnTo>
                  <a:lnTo>
                    <a:pt x="83" y="84"/>
                  </a:lnTo>
                  <a:lnTo>
                    <a:pt x="67" y="93"/>
                  </a:lnTo>
                  <a:lnTo>
                    <a:pt x="57" y="103"/>
                  </a:lnTo>
                  <a:lnTo>
                    <a:pt x="45" y="98"/>
                  </a:lnTo>
                  <a:lnTo>
                    <a:pt x="31" y="98"/>
                  </a:lnTo>
                  <a:lnTo>
                    <a:pt x="22" y="105"/>
                  </a:lnTo>
                  <a:lnTo>
                    <a:pt x="14" y="114"/>
                  </a:lnTo>
                  <a:lnTo>
                    <a:pt x="22" y="119"/>
                  </a:lnTo>
                  <a:lnTo>
                    <a:pt x="29" y="122"/>
                  </a:lnTo>
                  <a:lnTo>
                    <a:pt x="36" y="126"/>
                  </a:lnTo>
                  <a:lnTo>
                    <a:pt x="45" y="126"/>
                  </a:lnTo>
                  <a:lnTo>
                    <a:pt x="50" y="131"/>
                  </a:lnTo>
                  <a:lnTo>
                    <a:pt x="52" y="136"/>
                  </a:lnTo>
                  <a:lnTo>
                    <a:pt x="60" y="141"/>
                  </a:lnTo>
                  <a:lnTo>
                    <a:pt x="64" y="145"/>
                  </a:lnTo>
                  <a:lnTo>
                    <a:pt x="74" y="148"/>
                  </a:lnTo>
                  <a:lnTo>
                    <a:pt x="81" y="153"/>
                  </a:lnTo>
                  <a:lnTo>
                    <a:pt x="88" y="150"/>
                  </a:lnTo>
                  <a:lnTo>
                    <a:pt x="88" y="141"/>
                  </a:lnTo>
                  <a:lnTo>
                    <a:pt x="81" y="136"/>
                  </a:lnTo>
                  <a:lnTo>
                    <a:pt x="81" y="126"/>
                  </a:lnTo>
                  <a:lnTo>
                    <a:pt x="88" y="126"/>
                  </a:lnTo>
                  <a:lnTo>
                    <a:pt x="93" y="136"/>
                  </a:lnTo>
                  <a:lnTo>
                    <a:pt x="100" y="141"/>
                  </a:lnTo>
                  <a:lnTo>
                    <a:pt x="107" y="138"/>
                  </a:lnTo>
                  <a:lnTo>
                    <a:pt x="109" y="129"/>
                  </a:lnTo>
                  <a:lnTo>
                    <a:pt x="112" y="119"/>
                  </a:lnTo>
                  <a:lnTo>
                    <a:pt x="109" y="110"/>
                  </a:lnTo>
                  <a:lnTo>
                    <a:pt x="107" y="105"/>
                  </a:lnTo>
                  <a:lnTo>
                    <a:pt x="109" y="98"/>
                  </a:lnTo>
                  <a:lnTo>
                    <a:pt x="121" y="95"/>
                  </a:lnTo>
                  <a:lnTo>
                    <a:pt x="128" y="98"/>
                  </a:lnTo>
                  <a:lnTo>
                    <a:pt x="126" y="107"/>
                  </a:lnTo>
                  <a:lnTo>
                    <a:pt x="124" y="117"/>
                  </a:lnTo>
                  <a:lnTo>
                    <a:pt x="128" y="119"/>
                  </a:lnTo>
                  <a:lnTo>
                    <a:pt x="138" y="114"/>
                  </a:lnTo>
                  <a:lnTo>
                    <a:pt x="155" y="103"/>
                  </a:lnTo>
                  <a:lnTo>
                    <a:pt x="152" y="91"/>
                  </a:lnTo>
                  <a:lnTo>
                    <a:pt x="150" y="84"/>
                  </a:lnTo>
                  <a:lnTo>
                    <a:pt x="138" y="79"/>
                  </a:lnTo>
                  <a:lnTo>
                    <a:pt x="128" y="72"/>
                  </a:lnTo>
                  <a:lnTo>
                    <a:pt x="124" y="62"/>
                  </a:lnTo>
                  <a:lnTo>
                    <a:pt x="131" y="60"/>
                  </a:lnTo>
                  <a:lnTo>
                    <a:pt x="140" y="55"/>
                  </a:lnTo>
                  <a:lnTo>
                    <a:pt x="136" y="50"/>
                  </a:lnTo>
                  <a:lnTo>
                    <a:pt x="140" y="43"/>
                  </a:lnTo>
                  <a:lnTo>
                    <a:pt x="133" y="41"/>
                  </a:lnTo>
                  <a:lnTo>
                    <a:pt x="131" y="31"/>
                  </a:lnTo>
                  <a:lnTo>
                    <a:pt x="124" y="31"/>
                  </a:lnTo>
                  <a:lnTo>
                    <a:pt x="117" y="29"/>
                  </a:lnTo>
                  <a:lnTo>
                    <a:pt x="102" y="24"/>
                  </a:lnTo>
                  <a:lnTo>
                    <a:pt x="88" y="24"/>
                  </a:lnTo>
                  <a:lnTo>
                    <a:pt x="79" y="29"/>
                  </a:lnTo>
                  <a:lnTo>
                    <a:pt x="76" y="24"/>
                  </a:lnTo>
                  <a:lnTo>
                    <a:pt x="76" y="19"/>
                  </a:lnTo>
                  <a:lnTo>
                    <a:pt x="83" y="17"/>
                  </a:lnTo>
                  <a:lnTo>
                    <a:pt x="90" y="10"/>
                  </a:lnTo>
                  <a:lnTo>
                    <a:pt x="88" y="5"/>
                  </a:lnTo>
                  <a:lnTo>
                    <a:pt x="79" y="10"/>
                  </a:lnTo>
                  <a:lnTo>
                    <a:pt x="64" y="17"/>
                  </a:lnTo>
                  <a:lnTo>
                    <a:pt x="55" y="22"/>
                  </a:lnTo>
                  <a:lnTo>
                    <a:pt x="48" y="24"/>
                  </a:lnTo>
                  <a:lnTo>
                    <a:pt x="36" y="34"/>
                  </a:lnTo>
                  <a:lnTo>
                    <a:pt x="26" y="34"/>
                  </a:lnTo>
                  <a:lnTo>
                    <a:pt x="36" y="22"/>
                  </a:lnTo>
                  <a:lnTo>
                    <a:pt x="43" y="17"/>
                  </a:lnTo>
                  <a:lnTo>
                    <a:pt x="55" y="15"/>
                  </a:lnTo>
                  <a:lnTo>
                    <a:pt x="67" y="10"/>
                  </a:lnTo>
                  <a:lnTo>
                    <a:pt x="71" y="5"/>
                  </a:lnTo>
                  <a:lnTo>
                    <a:pt x="6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20232;p275">
              <a:extLst>
                <a:ext uri="{FF2B5EF4-FFF2-40B4-BE49-F238E27FC236}">
                  <a16:creationId xmlns:a16="http://schemas.microsoft.com/office/drawing/2014/main" id="{C7702BB8-F4B3-0A74-1E8E-A7E1BD00BD2E}"/>
                </a:ext>
              </a:extLst>
            </p:cNvPr>
            <p:cNvSpPr/>
            <p:nvPr/>
          </p:nvSpPr>
          <p:spPr>
            <a:xfrm>
              <a:off x="4430979" y="1901669"/>
              <a:ext cx="56741" cy="40192"/>
            </a:xfrm>
            <a:custGeom>
              <a:avLst/>
              <a:gdLst/>
              <a:ahLst/>
              <a:cxnLst/>
              <a:rect l="l" t="t" r="r" b="b"/>
              <a:pathLst>
                <a:path w="24" h="17" extrusionOk="0">
                  <a:moveTo>
                    <a:pt x="17" y="0"/>
                  </a:moveTo>
                  <a:lnTo>
                    <a:pt x="10" y="3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2" y="17"/>
                  </a:lnTo>
                  <a:lnTo>
                    <a:pt x="24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20233;p275">
              <a:extLst>
                <a:ext uri="{FF2B5EF4-FFF2-40B4-BE49-F238E27FC236}">
                  <a16:creationId xmlns:a16="http://schemas.microsoft.com/office/drawing/2014/main" id="{5DD61A82-A7D3-80AF-DC0B-CAB758F65BEE}"/>
                </a:ext>
              </a:extLst>
            </p:cNvPr>
            <p:cNvSpPr/>
            <p:nvPr/>
          </p:nvSpPr>
          <p:spPr>
            <a:xfrm>
              <a:off x="4430979" y="1901669"/>
              <a:ext cx="56741" cy="40192"/>
            </a:xfrm>
            <a:custGeom>
              <a:avLst/>
              <a:gdLst/>
              <a:ahLst/>
              <a:cxnLst/>
              <a:rect l="l" t="t" r="r" b="b"/>
              <a:pathLst>
                <a:path w="24" h="17" extrusionOk="0">
                  <a:moveTo>
                    <a:pt x="17" y="0"/>
                  </a:moveTo>
                  <a:lnTo>
                    <a:pt x="10" y="3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2" y="17"/>
                  </a:lnTo>
                  <a:lnTo>
                    <a:pt x="24" y="7"/>
                  </a:lnTo>
                  <a:lnTo>
                    <a:pt x="17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20234;p275">
              <a:extLst>
                <a:ext uri="{FF2B5EF4-FFF2-40B4-BE49-F238E27FC236}">
                  <a16:creationId xmlns:a16="http://schemas.microsoft.com/office/drawing/2014/main" id="{207DD305-15D7-0404-A913-2F53ED0B6CFC}"/>
                </a:ext>
              </a:extLst>
            </p:cNvPr>
            <p:cNvSpPr/>
            <p:nvPr/>
          </p:nvSpPr>
          <p:spPr>
            <a:xfrm>
              <a:off x="3943950" y="2026972"/>
              <a:ext cx="44920" cy="26006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6" y="0"/>
                  </a:moveTo>
                  <a:lnTo>
                    <a:pt x="7" y="2"/>
                  </a:lnTo>
                  <a:lnTo>
                    <a:pt x="0" y="4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9" y="4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20235;p275">
              <a:extLst>
                <a:ext uri="{FF2B5EF4-FFF2-40B4-BE49-F238E27FC236}">
                  <a16:creationId xmlns:a16="http://schemas.microsoft.com/office/drawing/2014/main" id="{634D4736-AA08-922E-FEB3-3E8BBD5F7740}"/>
                </a:ext>
              </a:extLst>
            </p:cNvPr>
            <p:cNvSpPr/>
            <p:nvPr/>
          </p:nvSpPr>
          <p:spPr>
            <a:xfrm>
              <a:off x="3943950" y="2026972"/>
              <a:ext cx="44920" cy="26006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6" y="0"/>
                  </a:moveTo>
                  <a:lnTo>
                    <a:pt x="7" y="2"/>
                  </a:lnTo>
                  <a:lnTo>
                    <a:pt x="0" y="4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9" y="4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20236;p275">
              <a:extLst>
                <a:ext uri="{FF2B5EF4-FFF2-40B4-BE49-F238E27FC236}">
                  <a16:creationId xmlns:a16="http://schemas.microsoft.com/office/drawing/2014/main" id="{9E004B45-CE8C-FFB8-EF60-F66297CAA0E4}"/>
                </a:ext>
              </a:extLst>
            </p:cNvPr>
            <p:cNvSpPr/>
            <p:nvPr/>
          </p:nvSpPr>
          <p:spPr>
            <a:xfrm>
              <a:off x="4033790" y="2161732"/>
              <a:ext cx="115847" cy="66198"/>
            </a:xfrm>
            <a:custGeom>
              <a:avLst/>
              <a:gdLst/>
              <a:ahLst/>
              <a:cxnLst/>
              <a:rect l="l" t="t" r="r" b="b"/>
              <a:pathLst>
                <a:path w="49" h="28" extrusionOk="0">
                  <a:moveTo>
                    <a:pt x="38" y="0"/>
                  </a:moveTo>
                  <a:lnTo>
                    <a:pt x="26" y="4"/>
                  </a:lnTo>
                  <a:lnTo>
                    <a:pt x="11" y="14"/>
                  </a:lnTo>
                  <a:lnTo>
                    <a:pt x="0" y="19"/>
                  </a:lnTo>
                  <a:lnTo>
                    <a:pt x="2" y="26"/>
                  </a:lnTo>
                  <a:lnTo>
                    <a:pt x="14" y="28"/>
                  </a:lnTo>
                  <a:lnTo>
                    <a:pt x="26" y="19"/>
                  </a:lnTo>
                  <a:lnTo>
                    <a:pt x="38" y="19"/>
                  </a:lnTo>
                  <a:lnTo>
                    <a:pt x="49" y="14"/>
                  </a:lnTo>
                  <a:lnTo>
                    <a:pt x="45" y="4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20237;p275">
              <a:extLst>
                <a:ext uri="{FF2B5EF4-FFF2-40B4-BE49-F238E27FC236}">
                  <a16:creationId xmlns:a16="http://schemas.microsoft.com/office/drawing/2014/main" id="{4FC869ED-1DB5-EBBB-AC1B-43A6978CEE8F}"/>
                </a:ext>
              </a:extLst>
            </p:cNvPr>
            <p:cNvSpPr/>
            <p:nvPr/>
          </p:nvSpPr>
          <p:spPr>
            <a:xfrm>
              <a:off x="4033790" y="2161732"/>
              <a:ext cx="115847" cy="66198"/>
            </a:xfrm>
            <a:custGeom>
              <a:avLst/>
              <a:gdLst/>
              <a:ahLst/>
              <a:cxnLst/>
              <a:rect l="l" t="t" r="r" b="b"/>
              <a:pathLst>
                <a:path w="49" h="28" extrusionOk="0">
                  <a:moveTo>
                    <a:pt x="38" y="0"/>
                  </a:moveTo>
                  <a:lnTo>
                    <a:pt x="26" y="4"/>
                  </a:lnTo>
                  <a:lnTo>
                    <a:pt x="11" y="14"/>
                  </a:lnTo>
                  <a:lnTo>
                    <a:pt x="0" y="19"/>
                  </a:lnTo>
                  <a:lnTo>
                    <a:pt x="2" y="26"/>
                  </a:lnTo>
                  <a:lnTo>
                    <a:pt x="14" y="28"/>
                  </a:lnTo>
                  <a:lnTo>
                    <a:pt x="26" y="19"/>
                  </a:lnTo>
                  <a:lnTo>
                    <a:pt x="38" y="19"/>
                  </a:lnTo>
                  <a:lnTo>
                    <a:pt x="49" y="14"/>
                  </a:lnTo>
                  <a:lnTo>
                    <a:pt x="45" y="4"/>
                  </a:lnTo>
                  <a:lnTo>
                    <a:pt x="38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20238;p275">
              <a:extLst>
                <a:ext uri="{FF2B5EF4-FFF2-40B4-BE49-F238E27FC236}">
                  <a16:creationId xmlns:a16="http://schemas.microsoft.com/office/drawing/2014/main" id="{F6430AD7-8F93-E61E-170C-D4F8B141158D}"/>
                </a:ext>
              </a:extLst>
            </p:cNvPr>
            <p:cNvSpPr/>
            <p:nvPr/>
          </p:nvSpPr>
          <p:spPr>
            <a:xfrm>
              <a:off x="4161458" y="1823650"/>
              <a:ext cx="96933" cy="44920"/>
            </a:xfrm>
            <a:custGeom>
              <a:avLst/>
              <a:gdLst/>
              <a:ahLst/>
              <a:cxnLst/>
              <a:rect l="l" t="t" r="r" b="b"/>
              <a:pathLst>
                <a:path w="41" h="19" extrusionOk="0">
                  <a:moveTo>
                    <a:pt x="33" y="0"/>
                  </a:moveTo>
                  <a:lnTo>
                    <a:pt x="17" y="2"/>
                  </a:lnTo>
                  <a:lnTo>
                    <a:pt x="5" y="2"/>
                  </a:lnTo>
                  <a:lnTo>
                    <a:pt x="0" y="12"/>
                  </a:lnTo>
                  <a:lnTo>
                    <a:pt x="12" y="19"/>
                  </a:lnTo>
                  <a:lnTo>
                    <a:pt x="26" y="17"/>
                  </a:lnTo>
                  <a:lnTo>
                    <a:pt x="41" y="5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20239;p275">
              <a:extLst>
                <a:ext uri="{FF2B5EF4-FFF2-40B4-BE49-F238E27FC236}">
                  <a16:creationId xmlns:a16="http://schemas.microsoft.com/office/drawing/2014/main" id="{04CB1440-86BB-C6AA-32CB-E095C6DC3B38}"/>
                </a:ext>
              </a:extLst>
            </p:cNvPr>
            <p:cNvSpPr/>
            <p:nvPr/>
          </p:nvSpPr>
          <p:spPr>
            <a:xfrm>
              <a:off x="4161458" y="1823650"/>
              <a:ext cx="96933" cy="44920"/>
            </a:xfrm>
            <a:custGeom>
              <a:avLst/>
              <a:gdLst/>
              <a:ahLst/>
              <a:cxnLst/>
              <a:rect l="l" t="t" r="r" b="b"/>
              <a:pathLst>
                <a:path w="41" h="19" extrusionOk="0">
                  <a:moveTo>
                    <a:pt x="33" y="0"/>
                  </a:moveTo>
                  <a:lnTo>
                    <a:pt x="17" y="2"/>
                  </a:lnTo>
                  <a:lnTo>
                    <a:pt x="5" y="2"/>
                  </a:lnTo>
                  <a:lnTo>
                    <a:pt x="0" y="12"/>
                  </a:lnTo>
                  <a:lnTo>
                    <a:pt x="12" y="19"/>
                  </a:lnTo>
                  <a:lnTo>
                    <a:pt x="26" y="17"/>
                  </a:lnTo>
                  <a:lnTo>
                    <a:pt x="41" y="5"/>
                  </a:lnTo>
                  <a:lnTo>
                    <a:pt x="3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20240;p275">
              <a:extLst>
                <a:ext uri="{FF2B5EF4-FFF2-40B4-BE49-F238E27FC236}">
                  <a16:creationId xmlns:a16="http://schemas.microsoft.com/office/drawing/2014/main" id="{B75572A0-9365-F301-4FC8-36BCBEE9853A}"/>
                </a:ext>
              </a:extLst>
            </p:cNvPr>
            <p:cNvSpPr/>
            <p:nvPr/>
          </p:nvSpPr>
          <p:spPr>
            <a:xfrm>
              <a:off x="2891872" y="2589656"/>
              <a:ext cx="44920" cy="89840"/>
            </a:xfrm>
            <a:custGeom>
              <a:avLst/>
              <a:gdLst/>
              <a:ahLst/>
              <a:cxnLst/>
              <a:rect l="l" t="t" r="r" b="b"/>
              <a:pathLst>
                <a:path w="19" h="38" extrusionOk="0">
                  <a:moveTo>
                    <a:pt x="7" y="0"/>
                  </a:moveTo>
                  <a:lnTo>
                    <a:pt x="0" y="4"/>
                  </a:lnTo>
                  <a:lnTo>
                    <a:pt x="0" y="11"/>
                  </a:lnTo>
                  <a:lnTo>
                    <a:pt x="7" y="26"/>
                  </a:lnTo>
                  <a:lnTo>
                    <a:pt x="10" y="38"/>
                  </a:lnTo>
                  <a:lnTo>
                    <a:pt x="17" y="38"/>
                  </a:lnTo>
                  <a:lnTo>
                    <a:pt x="19" y="31"/>
                  </a:lnTo>
                  <a:lnTo>
                    <a:pt x="17" y="11"/>
                  </a:lnTo>
                  <a:lnTo>
                    <a:pt x="12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20241;p275">
              <a:extLst>
                <a:ext uri="{FF2B5EF4-FFF2-40B4-BE49-F238E27FC236}">
                  <a16:creationId xmlns:a16="http://schemas.microsoft.com/office/drawing/2014/main" id="{1B583550-48CA-960C-595B-02D45FF9164D}"/>
                </a:ext>
              </a:extLst>
            </p:cNvPr>
            <p:cNvSpPr/>
            <p:nvPr/>
          </p:nvSpPr>
          <p:spPr>
            <a:xfrm>
              <a:off x="2891872" y="2589656"/>
              <a:ext cx="44920" cy="89840"/>
            </a:xfrm>
            <a:custGeom>
              <a:avLst/>
              <a:gdLst/>
              <a:ahLst/>
              <a:cxnLst/>
              <a:rect l="l" t="t" r="r" b="b"/>
              <a:pathLst>
                <a:path w="19" h="38" extrusionOk="0">
                  <a:moveTo>
                    <a:pt x="7" y="0"/>
                  </a:moveTo>
                  <a:lnTo>
                    <a:pt x="0" y="4"/>
                  </a:lnTo>
                  <a:lnTo>
                    <a:pt x="0" y="11"/>
                  </a:lnTo>
                  <a:lnTo>
                    <a:pt x="7" y="26"/>
                  </a:lnTo>
                  <a:lnTo>
                    <a:pt x="10" y="38"/>
                  </a:lnTo>
                  <a:lnTo>
                    <a:pt x="17" y="38"/>
                  </a:lnTo>
                  <a:lnTo>
                    <a:pt x="19" y="31"/>
                  </a:lnTo>
                  <a:lnTo>
                    <a:pt x="17" y="11"/>
                  </a:lnTo>
                  <a:lnTo>
                    <a:pt x="12" y="2"/>
                  </a:lnTo>
                  <a:lnTo>
                    <a:pt x="7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20242;p275">
              <a:extLst>
                <a:ext uri="{FF2B5EF4-FFF2-40B4-BE49-F238E27FC236}">
                  <a16:creationId xmlns:a16="http://schemas.microsoft.com/office/drawing/2014/main" id="{271396EB-E9D7-B237-8F44-E318B61471EC}"/>
                </a:ext>
              </a:extLst>
            </p:cNvPr>
            <p:cNvSpPr/>
            <p:nvPr/>
          </p:nvSpPr>
          <p:spPr>
            <a:xfrm>
              <a:off x="3560946" y="3478601"/>
              <a:ext cx="252971" cy="106390"/>
            </a:xfrm>
            <a:custGeom>
              <a:avLst/>
              <a:gdLst/>
              <a:ahLst/>
              <a:cxnLst/>
              <a:rect l="l" t="t" r="r" b="b"/>
              <a:pathLst>
                <a:path w="107" h="45" extrusionOk="0">
                  <a:moveTo>
                    <a:pt x="26" y="0"/>
                  </a:moveTo>
                  <a:lnTo>
                    <a:pt x="9" y="4"/>
                  </a:lnTo>
                  <a:lnTo>
                    <a:pt x="0" y="14"/>
                  </a:lnTo>
                  <a:lnTo>
                    <a:pt x="2" y="19"/>
                  </a:lnTo>
                  <a:lnTo>
                    <a:pt x="14" y="19"/>
                  </a:lnTo>
                  <a:lnTo>
                    <a:pt x="21" y="11"/>
                  </a:lnTo>
                  <a:lnTo>
                    <a:pt x="31" y="16"/>
                  </a:lnTo>
                  <a:lnTo>
                    <a:pt x="47" y="19"/>
                  </a:lnTo>
                  <a:lnTo>
                    <a:pt x="57" y="28"/>
                  </a:lnTo>
                  <a:lnTo>
                    <a:pt x="66" y="28"/>
                  </a:lnTo>
                  <a:lnTo>
                    <a:pt x="69" y="33"/>
                  </a:lnTo>
                  <a:lnTo>
                    <a:pt x="59" y="35"/>
                  </a:lnTo>
                  <a:lnTo>
                    <a:pt x="59" y="42"/>
                  </a:lnTo>
                  <a:lnTo>
                    <a:pt x="69" y="45"/>
                  </a:lnTo>
                  <a:lnTo>
                    <a:pt x="78" y="40"/>
                  </a:lnTo>
                  <a:lnTo>
                    <a:pt x="83" y="45"/>
                  </a:lnTo>
                  <a:lnTo>
                    <a:pt x="107" y="45"/>
                  </a:lnTo>
                  <a:lnTo>
                    <a:pt x="107" y="38"/>
                  </a:lnTo>
                  <a:lnTo>
                    <a:pt x="88" y="35"/>
                  </a:lnTo>
                  <a:lnTo>
                    <a:pt x="83" y="23"/>
                  </a:lnTo>
                  <a:lnTo>
                    <a:pt x="74" y="21"/>
                  </a:lnTo>
                  <a:lnTo>
                    <a:pt x="62" y="9"/>
                  </a:lnTo>
                  <a:lnTo>
                    <a:pt x="45" y="2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20243;p275">
              <a:extLst>
                <a:ext uri="{FF2B5EF4-FFF2-40B4-BE49-F238E27FC236}">
                  <a16:creationId xmlns:a16="http://schemas.microsoft.com/office/drawing/2014/main" id="{C9E7B8B8-1F25-85FE-4599-52CCEF15A5D3}"/>
                </a:ext>
              </a:extLst>
            </p:cNvPr>
            <p:cNvSpPr/>
            <p:nvPr/>
          </p:nvSpPr>
          <p:spPr>
            <a:xfrm>
              <a:off x="3560946" y="3478601"/>
              <a:ext cx="252971" cy="106390"/>
            </a:xfrm>
            <a:custGeom>
              <a:avLst/>
              <a:gdLst/>
              <a:ahLst/>
              <a:cxnLst/>
              <a:rect l="l" t="t" r="r" b="b"/>
              <a:pathLst>
                <a:path w="107" h="45" extrusionOk="0">
                  <a:moveTo>
                    <a:pt x="26" y="0"/>
                  </a:moveTo>
                  <a:lnTo>
                    <a:pt x="9" y="4"/>
                  </a:lnTo>
                  <a:lnTo>
                    <a:pt x="0" y="14"/>
                  </a:lnTo>
                  <a:lnTo>
                    <a:pt x="2" y="19"/>
                  </a:lnTo>
                  <a:lnTo>
                    <a:pt x="14" y="19"/>
                  </a:lnTo>
                  <a:lnTo>
                    <a:pt x="21" y="11"/>
                  </a:lnTo>
                  <a:lnTo>
                    <a:pt x="31" y="16"/>
                  </a:lnTo>
                  <a:lnTo>
                    <a:pt x="47" y="19"/>
                  </a:lnTo>
                  <a:lnTo>
                    <a:pt x="57" y="28"/>
                  </a:lnTo>
                  <a:lnTo>
                    <a:pt x="66" y="28"/>
                  </a:lnTo>
                  <a:lnTo>
                    <a:pt x="69" y="33"/>
                  </a:lnTo>
                  <a:lnTo>
                    <a:pt x="59" y="35"/>
                  </a:lnTo>
                  <a:lnTo>
                    <a:pt x="59" y="42"/>
                  </a:lnTo>
                  <a:lnTo>
                    <a:pt x="69" y="45"/>
                  </a:lnTo>
                  <a:lnTo>
                    <a:pt x="78" y="40"/>
                  </a:lnTo>
                  <a:lnTo>
                    <a:pt x="83" y="45"/>
                  </a:lnTo>
                  <a:lnTo>
                    <a:pt x="107" y="45"/>
                  </a:lnTo>
                  <a:lnTo>
                    <a:pt x="107" y="38"/>
                  </a:lnTo>
                  <a:lnTo>
                    <a:pt x="88" y="35"/>
                  </a:lnTo>
                  <a:lnTo>
                    <a:pt x="83" y="23"/>
                  </a:lnTo>
                  <a:lnTo>
                    <a:pt x="74" y="21"/>
                  </a:lnTo>
                  <a:lnTo>
                    <a:pt x="62" y="9"/>
                  </a:lnTo>
                  <a:lnTo>
                    <a:pt x="45" y="2"/>
                  </a:lnTo>
                  <a:lnTo>
                    <a:pt x="26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20244;p275">
              <a:extLst>
                <a:ext uri="{FF2B5EF4-FFF2-40B4-BE49-F238E27FC236}">
                  <a16:creationId xmlns:a16="http://schemas.microsoft.com/office/drawing/2014/main" id="{CA2BCE57-E61D-2334-71C1-870EE09C7B76}"/>
                </a:ext>
              </a:extLst>
            </p:cNvPr>
            <p:cNvSpPr/>
            <p:nvPr/>
          </p:nvSpPr>
          <p:spPr>
            <a:xfrm>
              <a:off x="3797368" y="3577898"/>
              <a:ext cx="212780" cy="80383"/>
            </a:xfrm>
            <a:custGeom>
              <a:avLst/>
              <a:gdLst/>
              <a:ahLst/>
              <a:cxnLst/>
              <a:rect l="l" t="t" r="r" b="b"/>
              <a:pathLst>
                <a:path w="38" h="14" extrusionOk="0">
                  <a:moveTo>
                    <a:pt x="7" y="0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7" y="0"/>
                    <a:pt x="17" y="0"/>
                  </a:cubicBezTo>
                  <a:cubicBezTo>
                    <a:pt x="16" y="0"/>
                    <a:pt x="11" y="1"/>
                    <a:pt x="11" y="1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20245;p275">
              <a:extLst>
                <a:ext uri="{FF2B5EF4-FFF2-40B4-BE49-F238E27FC236}">
                  <a16:creationId xmlns:a16="http://schemas.microsoft.com/office/drawing/2014/main" id="{3842617C-1A1D-DCDD-AD3D-7D6E9DD6F37F}"/>
                </a:ext>
              </a:extLst>
            </p:cNvPr>
            <p:cNvSpPr/>
            <p:nvPr/>
          </p:nvSpPr>
          <p:spPr>
            <a:xfrm>
              <a:off x="3679157" y="3613361"/>
              <a:ext cx="89840" cy="33099"/>
            </a:xfrm>
            <a:custGeom>
              <a:avLst/>
              <a:gdLst/>
              <a:ahLst/>
              <a:cxnLst/>
              <a:rect l="l" t="t" r="r" b="b"/>
              <a:pathLst>
                <a:path w="38" h="14" extrusionOk="0">
                  <a:moveTo>
                    <a:pt x="14" y="0"/>
                  </a:moveTo>
                  <a:lnTo>
                    <a:pt x="5" y="2"/>
                  </a:lnTo>
                  <a:lnTo>
                    <a:pt x="0" y="9"/>
                  </a:lnTo>
                  <a:lnTo>
                    <a:pt x="12" y="14"/>
                  </a:lnTo>
                  <a:lnTo>
                    <a:pt x="31" y="14"/>
                  </a:lnTo>
                  <a:lnTo>
                    <a:pt x="38" y="9"/>
                  </a:lnTo>
                  <a:lnTo>
                    <a:pt x="3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20246;p275">
              <a:extLst>
                <a:ext uri="{FF2B5EF4-FFF2-40B4-BE49-F238E27FC236}">
                  <a16:creationId xmlns:a16="http://schemas.microsoft.com/office/drawing/2014/main" id="{96986A4C-B460-2D05-231B-ED41B882FDCE}"/>
                </a:ext>
              </a:extLst>
            </p:cNvPr>
            <p:cNvSpPr/>
            <p:nvPr/>
          </p:nvSpPr>
          <p:spPr>
            <a:xfrm>
              <a:off x="3679157" y="3613361"/>
              <a:ext cx="89840" cy="33099"/>
            </a:xfrm>
            <a:custGeom>
              <a:avLst/>
              <a:gdLst/>
              <a:ahLst/>
              <a:cxnLst/>
              <a:rect l="l" t="t" r="r" b="b"/>
              <a:pathLst>
                <a:path w="38" h="14" extrusionOk="0">
                  <a:moveTo>
                    <a:pt x="14" y="0"/>
                  </a:moveTo>
                  <a:lnTo>
                    <a:pt x="5" y="2"/>
                  </a:lnTo>
                  <a:lnTo>
                    <a:pt x="0" y="9"/>
                  </a:lnTo>
                  <a:lnTo>
                    <a:pt x="12" y="14"/>
                  </a:lnTo>
                  <a:lnTo>
                    <a:pt x="31" y="14"/>
                  </a:lnTo>
                  <a:lnTo>
                    <a:pt x="38" y="9"/>
                  </a:lnTo>
                  <a:lnTo>
                    <a:pt x="33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20247;p275">
              <a:extLst>
                <a:ext uri="{FF2B5EF4-FFF2-40B4-BE49-F238E27FC236}">
                  <a16:creationId xmlns:a16="http://schemas.microsoft.com/office/drawing/2014/main" id="{BA14E346-6B6A-F3B6-8694-DD6DA286F350}"/>
                </a:ext>
              </a:extLst>
            </p:cNvPr>
            <p:cNvSpPr/>
            <p:nvPr/>
          </p:nvSpPr>
          <p:spPr>
            <a:xfrm>
              <a:off x="4364781" y="2606205"/>
              <a:ext cx="151310" cy="134760"/>
            </a:xfrm>
            <a:custGeom>
              <a:avLst/>
              <a:gdLst/>
              <a:ahLst/>
              <a:cxnLst/>
              <a:rect l="l" t="t" r="r" b="b"/>
              <a:pathLst>
                <a:path w="64" h="57" extrusionOk="0">
                  <a:moveTo>
                    <a:pt x="40" y="0"/>
                  </a:moveTo>
                  <a:lnTo>
                    <a:pt x="28" y="0"/>
                  </a:lnTo>
                  <a:lnTo>
                    <a:pt x="21" y="9"/>
                  </a:lnTo>
                  <a:lnTo>
                    <a:pt x="21" y="21"/>
                  </a:lnTo>
                  <a:lnTo>
                    <a:pt x="12" y="26"/>
                  </a:lnTo>
                  <a:lnTo>
                    <a:pt x="0" y="33"/>
                  </a:lnTo>
                  <a:lnTo>
                    <a:pt x="0" y="45"/>
                  </a:lnTo>
                  <a:lnTo>
                    <a:pt x="9" y="50"/>
                  </a:lnTo>
                  <a:lnTo>
                    <a:pt x="21" y="52"/>
                  </a:lnTo>
                  <a:lnTo>
                    <a:pt x="26" y="57"/>
                  </a:lnTo>
                  <a:lnTo>
                    <a:pt x="33" y="57"/>
                  </a:lnTo>
                  <a:lnTo>
                    <a:pt x="38" y="54"/>
                  </a:lnTo>
                  <a:lnTo>
                    <a:pt x="45" y="57"/>
                  </a:lnTo>
                  <a:lnTo>
                    <a:pt x="61" y="57"/>
                  </a:lnTo>
                  <a:lnTo>
                    <a:pt x="64" y="47"/>
                  </a:lnTo>
                  <a:lnTo>
                    <a:pt x="57" y="40"/>
                  </a:lnTo>
                  <a:lnTo>
                    <a:pt x="59" y="31"/>
                  </a:lnTo>
                  <a:lnTo>
                    <a:pt x="54" y="31"/>
                  </a:lnTo>
                  <a:lnTo>
                    <a:pt x="45" y="31"/>
                  </a:lnTo>
                  <a:lnTo>
                    <a:pt x="47" y="26"/>
                  </a:lnTo>
                  <a:lnTo>
                    <a:pt x="54" y="21"/>
                  </a:lnTo>
                  <a:lnTo>
                    <a:pt x="52" y="16"/>
                  </a:lnTo>
                  <a:lnTo>
                    <a:pt x="42" y="16"/>
                  </a:lnTo>
                  <a:lnTo>
                    <a:pt x="35" y="19"/>
                  </a:lnTo>
                  <a:lnTo>
                    <a:pt x="35" y="14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20248;p275">
              <a:extLst>
                <a:ext uri="{FF2B5EF4-FFF2-40B4-BE49-F238E27FC236}">
                  <a16:creationId xmlns:a16="http://schemas.microsoft.com/office/drawing/2014/main" id="{C6838327-D70A-A647-6B06-917CBF7B11F1}"/>
                </a:ext>
              </a:extLst>
            </p:cNvPr>
            <p:cNvSpPr/>
            <p:nvPr/>
          </p:nvSpPr>
          <p:spPr>
            <a:xfrm>
              <a:off x="4364781" y="2606205"/>
              <a:ext cx="151310" cy="134760"/>
            </a:xfrm>
            <a:custGeom>
              <a:avLst/>
              <a:gdLst/>
              <a:ahLst/>
              <a:cxnLst/>
              <a:rect l="l" t="t" r="r" b="b"/>
              <a:pathLst>
                <a:path w="64" h="57" extrusionOk="0">
                  <a:moveTo>
                    <a:pt x="40" y="0"/>
                  </a:moveTo>
                  <a:lnTo>
                    <a:pt x="28" y="0"/>
                  </a:lnTo>
                  <a:lnTo>
                    <a:pt x="21" y="9"/>
                  </a:lnTo>
                  <a:lnTo>
                    <a:pt x="21" y="21"/>
                  </a:lnTo>
                  <a:lnTo>
                    <a:pt x="12" y="26"/>
                  </a:lnTo>
                  <a:lnTo>
                    <a:pt x="0" y="33"/>
                  </a:lnTo>
                  <a:lnTo>
                    <a:pt x="0" y="45"/>
                  </a:lnTo>
                  <a:lnTo>
                    <a:pt x="9" y="50"/>
                  </a:lnTo>
                  <a:lnTo>
                    <a:pt x="21" y="52"/>
                  </a:lnTo>
                  <a:lnTo>
                    <a:pt x="26" y="57"/>
                  </a:lnTo>
                  <a:lnTo>
                    <a:pt x="33" y="57"/>
                  </a:lnTo>
                  <a:lnTo>
                    <a:pt x="38" y="54"/>
                  </a:lnTo>
                  <a:lnTo>
                    <a:pt x="45" y="57"/>
                  </a:lnTo>
                  <a:lnTo>
                    <a:pt x="61" y="57"/>
                  </a:lnTo>
                  <a:lnTo>
                    <a:pt x="64" y="47"/>
                  </a:lnTo>
                  <a:lnTo>
                    <a:pt x="57" y="40"/>
                  </a:lnTo>
                  <a:lnTo>
                    <a:pt x="59" y="31"/>
                  </a:lnTo>
                  <a:lnTo>
                    <a:pt x="54" y="31"/>
                  </a:lnTo>
                  <a:lnTo>
                    <a:pt x="45" y="31"/>
                  </a:lnTo>
                  <a:lnTo>
                    <a:pt x="47" y="26"/>
                  </a:lnTo>
                  <a:lnTo>
                    <a:pt x="54" y="21"/>
                  </a:lnTo>
                  <a:lnTo>
                    <a:pt x="52" y="16"/>
                  </a:lnTo>
                  <a:lnTo>
                    <a:pt x="42" y="16"/>
                  </a:lnTo>
                  <a:lnTo>
                    <a:pt x="35" y="19"/>
                  </a:lnTo>
                  <a:lnTo>
                    <a:pt x="35" y="14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20249;p275">
              <a:extLst>
                <a:ext uri="{FF2B5EF4-FFF2-40B4-BE49-F238E27FC236}">
                  <a16:creationId xmlns:a16="http://schemas.microsoft.com/office/drawing/2014/main" id="{42FEF6B9-56D0-AF33-8A49-8492B23E761B}"/>
                </a:ext>
              </a:extLst>
            </p:cNvPr>
            <p:cNvSpPr/>
            <p:nvPr/>
          </p:nvSpPr>
          <p:spPr>
            <a:xfrm>
              <a:off x="6015006" y="1755087"/>
              <a:ext cx="146582" cy="101661"/>
            </a:xfrm>
            <a:custGeom>
              <a:avLst/>
              <a:gdLst/>
              <a:ahLst/>
              <a:cxnLst/>
              <a:rect l="l" t="t" r="r" b="b"/>
              <a:pathLst>
                <a:path w="62" h="43" extrusionOk="0">
                  <a:moveTo>
                    <a:pt x="29" y="0"/>
                  </a:moveTo>
                  <a:lnTo>
                    <a:pt x="21" y="5"/>
                  </a:lnTo>
                  <a:lnTo>
                    <a:pt x="10" y="3"/>
                  </a:lnTo>
                  <a:lnTo>
                    <a:pt x="0" y="8"/>
                  </a:lnTo>
                  <a:lnTo>
                    <a:pt x="2" y="17"/>
                  </a:lnTo>
                  <a:lnTo>
                    <a:pt x="12" y="19"/>
                  </a:lnTo>
                  <a:lnTo>
                    <a:pt x="24" y="19"/>
                  </a:lnTo>
                  <a:lnTo>
                    <a:pt x="24" y="24"/>
                  </a:lnTo>
                  <a:lnTo>
                    <a:pt x="21" y="29"/>
                  </a:lnTo>
                  <a:lnTo>
                    <a:pt x="21" y="36"/>
                  </a:lnTo>
                  <a:lnTo>
                    <a:pt x="29" y="41"/>
                  </a:lnTo>
                  <a:lnTo>
                    <a:pt x="38" y="43"/>
                  </a:lnTo>
                  <a:lnTo>
                    <a:pt x="45" y="38"/>
                  </a:lnTo>
                  <a:lnTo>
                    <a:pt x="52" y="31"/>
                  </a:lnTo>
                  <a:lnTo>
                    <a:pt x="55" y="27"/>
                  </a:lnTo>
                  <a:lnTo>
                    <a:pt x="62" y="19"/>
                  </a:lnTo>
                  <a:lnTo>
                    <a:pt x="59" y="12"/>
                  </a:lnTo>
                  <a:lnTo>
                    <a:pt x="43" y="8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20250;p275">
              <a:extLst>
                <a:ext uri="{FF2B5EF4-FFF2-40B4-BE49-F238E27FC236}">
                  <a16:creationId xmlns:a16="http://schemas.microsoft.com/office/drawing/2014/main" id="{FCE11F4A-B02E-DEE8-90F3-C125396EB134}"/>
                </a:ext>
              </a:extLst>
            </p:cNvPr>
            <p:cNvSpPr/>
            <p:nvPr/>
          </p:nvSpPr>
          <p:spPr>
            <a:xfrm>
              <a:off x="6015006" y="1755087"/>
              <a:ext cx="146582" cy="101661"/>
            </a:xfrm>
            <a:custGeom>
              <a:avLst/>
              <a:gdLst/>
              <a:ahLst/>
              <a:cxnLst/>
              <a:rect l="l" t="t" r="r" b="b"/>
              <a:pathLst>
                <a:path w="62" h="43" extrusionOk="0">
                  <a:moveTo>
                    <a:pt x="29" y="0"/>
                  </a:moveTo>
                  <a:lnTo>
                    <a:pt x="21" y="5"/>
                  </a:lnTo>
                  <a:lnTo>
                    <a:pt x="10" y="3"/>
                  </a:lnTo>
                  <a:lnTo>
                    <a:pt x="0" y="8"/>
                  </a:lnTo>
                  <a:lnTo>
                    <a:pt x="2" y="17"/>
                  </a:lnTo>
                  <a:lnTo>
                    <a:pt x="12" y="19"/>
                  </a:lnTo>
                  <a:lnTo>
                    <a:pt x="24" y="19"/>
                  </a:lnTo>
                  <a:lnTo>
                    <a:pt x="24" y="24"/>
                  </a:lnTo>
                  <a:lnTo>
                    <a:pt x="21" y="29"/>
                  </a:lnTo>
                  <a:lnTo>
                    <a:pt x="21" y="36"/>
                  </a:lnTo>
                  <a:lnTo>
                    <a:pt x="29" y="41"/>
                  </a:lnTo>
                  <a:lnTo>
                    <a:pt x="38" y="43"/>
                  </a:lnTo>
                  <a:lnTo>
                    <a:pt x="45" y="38"/>
                  </a:lnTo>
                  <a:lnTo>
                    <a:pt x="52" y="31"/>
                  </a:lnTo>
                  <a:lnTo>
                    <a:pt x="55" y="27"/>
                  </a:lnTo>
                  <a:lnTo>
                    <a:pt x="62" y="19"/>
                  </a:lnTo>
                  <a:lnTo>
                    <a:pt x="59" y="12"/>
                  </a:lnTo>
                  <a:lnTo>
                    <a:pt x="43" y="8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20251;p275">
              <a:extLst>
                <a:ext uri="{FF2B5EF4-FFF2-40B4-BE49-F238E27FC236}">
                  <a16:creationId xmlns:a16="http://schemas.microsoft.com/office/drawing/2014/main" id="{E685FFCF-8C3C-CC96-48FC-3AF11FDE8AFF}"/>
                </a:ext>
              </a:extLst>
            </p:cNvPr>
            <p:cNvSpPr/>
            <p:nvPr/>
          </p:nvSpPr>
          <p:spPr>
            <a:xfrm>
              <a:off x="6109575" y="1733809"/>
              <a:ext cx="158403" cy="44920"/>
            </a:xfrm>
            <a:custGeom>
              <a:avLst/>
              <a:gdLst/>
              <a:ahLst/>
              <a:cxnLst/>
              <a:rect l="l" t="t" r="r" b="b"/>
              <a:pathLst>
                <a:path w="67" h="19" extrusionOk="0">
                  <a:moveTo>
                    <a:pt x="12" y="0"/>
                  </a:moveTo>
                  <a:lnTo>
                    <a:pt x="3" y="0"/>
                  </a:lnTo>
                  <a:lnTo>
                    <a:pt x="0" y="7"/>
                  </a:lnTo>
                  <a:lnTo>
                    <a:pt x="10" y="12"/>
                  </a:lnTo>
                  <a:lnTo>
                    <a:pt x="22" y="17"/>
                  </a:lnTo>
                  <a:lnTo>
                    <a:pt x="38" y="19"/>
                  </a:lnTo>
                  <a:lnTo>
                    <a:pt x="48" y="17"/>
                  </a:lnTo>
                  <a:lnTo>
                    <a:pt x="57" y="19"/>
                  </a:lnTo>
                  <a:lnTo>
                    <a:pt x="67" y="12"/>
                  </a:lnTo>
                  <a:lnTo>
                    <a:pt x="67" y="7"/>
                  </a:lnTo>
                  <a:lnTo>
                    <a:pt x="48" y="2"/>
                  </a:lnTo>
                  <a:lnTo>
                    <a:pt x="43" y="0"/>
                  </a:lnTo>
                  <a:lnTo>
                    <a:pt x="34" y="2"/>
                  </a:lnTo>
                  <a:lnTo>
                    <a:pt x="2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20252;p275">
              <a:extLst>
                <a:ext uri="{FF2B5EF4-FFF2-40B4-BE49-F238E27FC236}">
                  <a16:creationId xmlns:a16="http://schemas.microsoft.com/office/drawing/2014/main" id="{4E0441FB-0D35-9D59-171F-97B520370A84}"/>
                </a:ext>
              </a:extLst>
            </p:cNvPr>
            <p:cNvSpPr/>
            <p:nvPr/>
          </p:nvSpPr>
          <p:spPr>
            <a:xfrm>
              <a:off x="6109575" y="1733809"/>
              <a:ext cx="158403" cy="44920"/>
            </a:xfrm>
            <a:custGeom>
              <a:avLst/>
              <a:gdLst/>
              <a:ahLst/>
              <a:cxnLst/>
              <a:rect l="l" t="t" r="r" b="b"/>
              <a:pathLst>
                <a:path w="67" h="19" extrusionOk="0">
                  <a:moveTo>
                    <a:pt x="12" y="0"/>
                  </a:moveTo>
                  <a:lnTo>
                    <a:pt x="3" y="0"/>
                  </a:lnTo>
                  <a:lnTo>
                    <a:pt x="0" y="7"/>
                  </a:lnTo>
                  <a:lnTo>
                    <a:pt x="10" y="12"/>
                  </a:lnTo>
                  <a:lnTo>
                    <a:pt x="22" y="17"/>
                  </a:lnTo>
                  <a:lnTo>
                    <a:pt x="38" y="19"/>
                  </a:lnTo>
                  <a:lnTo>
                    <a:pt x="48" y="17"/>
                  </a:lnTo>
                  <a:lnTo>
                    <a:pt x="57" y="19"/>
                  </a:lnTo>
                  <a:lnTo>
                    <a:pt x="67" y="12"/>
                  </a:lnTo>
                  <a:lnTo>
                    <a:pt x="67" y="7"/>
                  </a:lnTo>
                  <a:lnTo>
                    <a:pt x="48" y="2"/>
                  </a:lnTo>
                  <a:lnTo>
                    <a:pt x="43" y="0"/>
                  </a:lnTo>
                  <a:lnTo>
                    <a:pt x="34" y="2"/>
                  </a:lnTo>
                  <a:lnTo>
                    <a:pt x="27" y="2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20253;p275">
              <a:extLst>
                <a:ext uri="{FF2B5EF4-FFF2-40B4-BE49-F238E27FC236}">
                  <a16:creationId xmlns:a16="http://schemas.microsoft.com/office/drawing/2014/main" id="{35614E41-106E-D807-7437-54F737A7A328}"/>
                </a:ext>
              </a:extLst>
            </p:cNvPr>
            <p:cNvSpPr/>
            <p:nvPr/>
          </p:nvSpPr>
          <p:spPr>
            <a:xfrm>
              <a:off x="6182866" y="1800007"/>
              <a:ext cx="44920" cy="28371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5" y="0"/>
                  </a:moveTo>
                  <a:lnTo>
                    <a:pt x="0" y="8"/>
                  </a:lnTo>
                  <a:lnTo>
                    <a:pt x="3" y="12"/>
                  </a:lnTo>
                  <a:lnTo>
                    <a:pt x="12" y="12"/>
                  </a:lnTo>
                  <a:lnTo>
                    <a:pt x="19" y="10"/>
                  </a:lnTo>
                  <a:lnTo>
                    <a:pt x="17" y="5"/>
                  </a:lnTo>
                  <a:lnTo>
                    <a:pt x="12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20254;p275">
              <a:extLst>
                <a:ext uri="{FF2B5EF4-FFF2-40B4-BE49-F238E27FC236}">
                  <a16:creationId xmlns:a16="http://schemas.microsoft.com/office/drawing/2014/main" id="{B3A9FE0D-5D9D-6DD1-C717-1668CFDDBB39}"/>
                </a:ext>
              </a:extLst>
            </p:cNvPr>
            <p:cNvSpPr/>
            <p:nvPr/>
          </p:nvSpPr>
          <p:spPr>
            <a:xfrm>
              <a:off x="6182866" y="1800007"/>
              <a:ext cx="44920" cy="28371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5" y="0"/>
                  </a:moveTo>
                  <a:lnTo>
                    <a:pt x="0" y="8"/>
                  </a:lnTo>
                  <a:lnTo>
                    <a:pt x="3" y="12"/>
                  </a:lnTo>
                  <a:lnTo>
                    <a:pt x="12" y="12"/>
                  </a:lnTo>
                  <a:lnTo>
                    <a:pt x="19" y="10"/>
                  </a:lnTo>
                  <a:lnTo>
                    <a:pt x="17" y="5"/>
                  </a:lnTo>
                  <a:lnTo>
                    <a:pt x="12" y="5"/>
                  </a:lnTo>
                  <a:lnTo>
                    <a:pt x="5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20255;p275">
              <a:extLst>
                <a:ext uri="{FF2B5EF4-FFF2-40B4-BE49-F238E27FC236}">
                  <a16:creationId xmlns:a16="http://schemas.microsoft.com/office/drawing/2014/main" id="{626C32BE-9C9C-769C-924D-ACC19920739A}"/>
                </a:ext>
              </a:extLst>
            </p:cNvPr>
            <p:cNvSpPr/>
            <p:nvPr/>
          </p:nvSpPr>
          <p:spPr>
            <a:xfrm>
              <a:off x="8946638" y="4490485"/>
              <a:ext cx="106390" cy="49649"/>
            </a:xfrm>
            <a:custGeom>
              <a:avLst/>
              <a:gdLst/>
              <a:ahLst/>
              <a:cxnLst/>
              <a:rect l="l" t="t" r="r" b="b"/>
              <a:pathLst>
                <a:path w="45" h="21" extrusionOk="0">
                  <a:moveTo>
                    <a:pt x="40" y="0"/>
                  </a:moveTo>
                  <a:lnTo>
                    <a:pt x="24" y="2"/>
                  </a:lnTo>
                  <a:lnTo>
                    <a:pt x="12" y="5"/>
                  </a:lnTo>
                  <a:lnTo>
                    <a:pt x="0" y="9"/>
                  </a:lnTo>
                  <a:lnTo>
                    <a:pt x="0" y="21"/>
                  </a:lnTo>
                  <a:lnTo>
                    <a:pt x="14" y="21"/>
                  </a:lnTo>
                  <a:lnTo>
                    <a:pt x="31" y="12"/>
                  </a:lnTo>
                  <a:lnTo>
                    <a:pt x="45" y="9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20256;p275">
              <a:extLst>
                <a:ext uri="{FF2B5EF4-FFF2-40B4-BE49-F238E27FC236}">
                  <a16:creationId xmlns:a16="http://schemas.microsoft.com/office/drawing/2014/main" id="{457C01D4-7985-492C-5BFA-8F7B49DF0AA3}"/>
                </a:ext>
              </a:extLst>
            </p:cNvPr>
            <p:cNvSpPr/>
            <p:nvPr/>
          </p:nvSpPr>
          <p:spPr>
            <a:xfrm>
              <a:off x="8946638" y="4490485"/>
              <a:ext cx="106390" cy="49649"/>
            </a:xfrm>
            <a:custGeom>
              <a:avLst/>
              <a:gdLst/>
              <a:ahLst/>
              <a:cxnLst/>
              <a:rect l="l" t="t" r="r" b="b"/>
              <a:pathLst>
                <a:path w="45" h="21" extrusionOk="0">
                  <a:moveTo>
                    <a:pt x="40" y="0"/>
                  </a:moveTo>
                  <a:lnTo>
                    <a:pt x="24" y="2"/>
                  </a:lnTo>
                  <a:lnTo>
                    <a:pt x="12" y="5"/>
                  </a:lnTo>
                  <a:lnTo>
                    <a:pt x="0" y="9"/>
                  </a:lnTo>
                  <a:lnTo>
                    <a:pt x="0" y="21"/>
                  </a:lnTo>
                  <a:lnTo>
                    <a:pt x="14" y="21"/>
                  </a:lnTo>
                  <a:lnTo>
                    <a:pt x="31" y="12"/>
                  </a:lnTo>
                  <a:lnTo>
                    <a:pt x="45" y="9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20257;p275">
              <a:extLst>
                <a:ext uri="{FF2B5EF4-FFF2-40B4-BE49-F238E27FC236}">
                  <a16:creationId xmlns:a16="http://schemas.microsoft.com/office/drawing/2014/main" id="{3490A5A1-0D9B-C370-C2BE-1503B9A76DC6}"/>
                </a:ext>
              </a:extLst>
            </p:cNvPr>
            <p:cNvSpPr/>
            <p:nvPr/>
          </p:nvSpPr>
          <p:spPr>
            <a:xfrm>
              <a:off x="9041207" y="4180773"/>
              <a:ext cx="56741" cy="85112"/>
            </a:xfrm>
            <a:custGeom>
              <a:avLst/>
              <a:gdLst/>
              <a:ahLst/>
              <a:cxnLst/>
              <a:rect l="l" t="t" r="r" b="b"/>
              <a:pathLst>
                <a:path w="24" h="36" extrusionOk="0">
                  <a:moveTo>
                    <a:pt x="12" y="0"/>
                  </a:moveTo>
                  <a:lnTo>
                    <a:pt x="5" y="0"/>
                  </a:lnTo>
                  <a:lnTo>
                    <a:pt x="0" y="14"/>
                  </a:lnTo>
                  <a:lnTo>
                    <a:pt x="0" y="31"/>
                  </a:lnTo>
                  <a:lnTo>
                    <a:pt x="7" y="36"/>
                  </a:lnTo>
                  <a:lnTo>
                    <a:pt x="24" y="19"/>
                  </a:lnTo>
                  <a:lnTo>
                    <a:pt x="17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20258;p275">
              <a:extLst>
                <a:ext uri="{FF2B5EF4-FFF2-40B4-BE49-F238E27FC236}">
                  <a16:creationId xmlns:a16="http://schemas.microsoft.com/office/drawing/2014/main" id="{5EC1246C-B3E0-ED05-ECB0-CB0B7CFA3EAE}"/>
                </a:ext>
              </a:extLst>
            </p:cNvPr>
            <p:cNvSpPr/>
            <p:nvPr/>
          </p:nvSpPr>
          <p:spPr>
            <a:xfrm>
              <a:off x="9041207" y="4180773"/>
              <a:ext cx="56741" cy="85112"/>
            </a:xfrm>
            <a:custGeom>
              <a:avLst/>
              <a:gdLst/>
              <a:ahLst/>
              <a:cxnLst/>
              <a:rect l="l" t="t" r="r" b="b"/>
              <a:pathLst>
                <a:path w="24" h="36" extrusionOk="0">
                  <a:moveTo>
                    <a:pt x="12" y="0"/>
                  </a:moveTo>
                  <a:lnTo>
                    <a:pt x="5" y="0"/>
                  </a:lnTo>
                  <a:lnTo>
                    <a:pt x="0" y="14"/>
                  </a:lnTo>
                  <a:lnTo>
                    <a:pt x="0" y="31"/>
                  </a:lnTo>
                  <a:lnTo>
                    <a:pt x="7" y="36"/>
                  </a:lnTo>
                  <a:lnTo>
                    <a:pt x="24" y="19"/>
                  </a:lnTo>
                  <a:lnTo>
                    <a:pt x="17" y="7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20259;p275">
              <a:extLst>
                <a:ext uri="{FF2B5EF4-FFF2-40B4-BE49-F238E27FC236}">
                  <a16:creationId xmlns:a16="http://schemas.microsoft.com/office/drawing/2014/main" id="{6D1AFE03-C3DF-809A-70CB-8A80F8C67BD0}"/>
                </a:ext>
              </a:extLst>
            </p:cNvPr>
            <p:cNvSpPr/>
            <p:nvPr/>
          </p:nvSpPr>
          <p:spPr>
            <a:xfrm>
              <a:off x="8811878" y="3488058"/>
              <a:ext cx="40192" cy="89840"/>
            </a:xfrm>
            <a:custGeom>
              <a:avLst/>
              <a:gdLst/>
              <a:ahLst/>
              <a:cxnLst/>
              <a:rect l="l" t="t" r="r" b="b"/>
              <a:pathLst>
                <a:path w="17" h="38" extrusionOk="0">
                  <a:moveTo>
                    <a:pt x="12" y="0"/>
                  </a:moveTo>
                  <a:lnTo>
                    <a:pt x="5" y="3"/>
                  </a:lnTo>
                  <a:lnTo>
                    <a:pt x="2" y="7"/>
                  </a:lnTo>
                  <a:lnTo>
                    <a:pt x="0" y="22"/>
                  </a:lnTo>
                  <a:lnTo>
                    <a:pt x="5" y="38"/>
                  </a:lnTo>
                  <a:lnTo>
                    <a:pt x="12" y="38"/>
                  </a:lnTo>
                  <a:lnTo>
                    <a:pt x="17" y="31"/>
                  </a:lnTo>
                  <a:lnTo>
                    <a:pt x="14" y="15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20260;p275">
              <a:extLst>
                <a:ext uri="{FF2B5EF4-FFF2-40B4-BE49-F238E27FC236}">
                  <a16:creationId xmlns:a16="http://schemas.microsoft.com/office/drawing/2014/main" id="{5AFE5FFD-73BA-86F3-9091-A7E27769982A}"/>
                </a:ext>
              </a:extLst>
            </p:cNvPr>
            <p:cNvSpPr/>
            <p:nvPr/>
          </p:nvSpPr>
          <p:spPr>
            <a:xfrm>
              <a:off x="8811878" y="3488058"/>
              <a:ext cx="40192" cy="89840"/>
            </a:xfrm>
            <a:custGeom>
              <a:avLst/>
              <a:gdLst/>
              <a:ahLst/>
              <a:cxnLst/>
              <a:rect l="l" t="t" r="r" b="b"/>
              <a:pathLst>
                <a:path w="17" h="38" extrusionOk="0">
                  <a:moveTo>
                    <a:pt x="12" y="0"/>
                  </a:moveTo>
                  <a:lnTo>
                    <a:pt x="5" y="3"/>
                  </a:lnTo>
                  <a:lnTo>
                    <a:pt x="2" y="7"/>
                  </a:lnTo>
                  <a:lnTo>
                    <a:pt x="0" y="22"/>
                  </a:lnTo>
                  <a:lnTo>
                    <a:pt x="5" y="38"/>
                  </a:lnTo>
                  <a:lnTo>
                    <a:pt x="12" y="38"/>
                  </a:lnTo>
                  <a:lnTo>
                    <a:pt x="17" y="31"/>
                  </a:lnTo>
                  <a:lnTo>
                    <a:pt x="14" y="15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20261;p275">
              <a:extLst>
                <a:ext uri="{FF2B5EF4-FFF2-40B4-BE49-F238E27FC236}">
                  <a16:creationId xmlns:a16="http://schemas.microsoft.com/office/drawing/2014/main" id="{B2978FD7-2206-E723-E9C1-5C9655D0254B}"/>
                </a:ext>
              </a:extLst>
            </p:cNvPr>
            <p:cNvSpPr/>
            <p:nvPr/>
          </p:nvSpPr>
          <p:spPr>
            <a:xfrm>
              <a:off x="8783507" y="4478664"/>
              <a:ext cx="146582" cy="52013"/>
            </a:xfrm>
            <a:custGeom>
              <a:avLst/>
              <a:gdLst/>
              <a:ahLst/>
              <a:cxnLst/>
              <a:rect l="l" t="t" r="r" b="b"/>
              <a:pathLst>
                <a:path w="62" h="22" extrusionOk="0">
                  <a:moveTo>
                    <a:pt x="12" y="0"/>
                  </a:moveTo>
                  <a:lnTo>
                    <a:pt x="0" y="3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24" y="12"/>
                  </a:lnTo>
                  <a:lnTo>
                    <a:pt x="24" y="19"/>
                  </a:lnTo>
                  <a:lnTo>
                    <a:pt x="40" y="22"/>
                  </a:lnTo>
                  <a:lnTo>
                    <a:pt x="45" y="10"/>
                  </a:lnTo>
                  <a:lnTo>
                    <a:pt x="59" y="10"/>
                  </a:lnTo>
                  <a:lnTo>
                    <a:pt x="62" y="3"/>
                  </a:lnTo>
                  <a:lnTo>
                    <a:pt x="43" y="3"/>
                  </a:lnTo>
                  <a:lnTo>
                    <a:pt x="26" y="5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20262;p275">
              <a:extLst>
                <a:ext uri="{FF2B5EF4-FFF2-40B4-BE49-F238E27FC236}">
                  <a16:creationId xmlns:a16="http://schemas.microsoft.com/office/drawing/2014/main" id="{CE321C90-9F6C-57A3-C26F-8E3B7803EABE}"/>
                </a:ext>
              </a:extLst>
            </p:cNvPr>
            <p:cNvSpPr/>
            <p:nvPr/>
          </p:nvSpPr>
          <p:spPr>
            <a:xfrm>
              <a:off x="8783507" y="4478664"/>
              <a:ext cx="146582" cy="52013"/>
            </a:xfrm>
            <a:custGeom>
              <a:avLst/>
              <a:gdLst/>
              <a:ahLst/>
              <a:cxnLst/>
              <a:rect l="l" t="t" r="r" b="b"/>
              <a:pathLst>
                <a:path w="62" h="22" extrusionOk="0">
                  <a:moveTo>
                    <a:pt x="12" y="0"/>
                  </a:moveTo>
                  <a:lnTo>
                    <a:pt x="0" y="3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24" y="12"/>
                  </a:lnTo>
                  <a:lnTo>
                    <a:pt x="24" y="19"/>
                  </a:lnTo>
                  <a:lnTo>
                    <a:pt x="40" y="22"/>
                  </a:lnTo>
                  <a:lnTo>
                    <a:pt x="45" y="10"/>
                  </a:lnTo>
                  <a:lnTo>
                    <a:pt x="59" y="10"/>
                  </a:lnTo>
                  <a:lnTo>
                    <a:pt x="62" y="3"/>
                  </a:lnTo>
                  <a:lnTo>
                    <a:pt x="43" y="3"/>
                  </a:lnTo>
                  <a:lnTo>
                    <a:pt x="26" y="5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20263;p275">
              <a:extLst>
                <a:ext uri="{FF2B5EF4-FFF2-40B4-BE49-F238E27FC236}">
                  <a16:creationId xmlns:a16="http://schemas.microsoft.com/office/drawing/2014/main" id="{065436FF-315E-8145-A4C9-FFB6E2A672C2}"/>
                </a:ext>
              </a:extLst>
            </p:cNvPr>
            <p:cNvSpPr/>
            <p:nvPr/>
          </p:nvSpPr>
          <p:spPr>
            <a:xfrm>
              <a:off x="9048300" y="4315533"/>
              <a:ext cx="94569" cy="40192"/>
            </a:xfrm>
            <a:custGeom>
              <a:avLst/>
              <a:gdLst/>
              <a:ahLst/>
              <a:cxnLst/>
              <a:rect l="l" t="t" r="r" b="b"/>
              <a:pathLst>
                <a:path w="40" h="17" extrusionOk="0">
                  <a:moveTo>
                    <a:pt x="23" y="0"/>
                  </a:moveTo>
                  <a:lnTo>
                    <a:pt x="7" y="3"/>
                  </a:lnTo>
                  <a:lnTo>
                    <a:pt x="0" y="10"/>
                  </a:lnTo>
                  <a:lnTo>
                    <a:pt x="14" y="14"/>
                  </a:lnTo>
                  <a:lnTo>
                    <a:pt x="40" y="17"/>
                  </a:lnTo>
                  <a:lnTo>
                    <a:pt x="38" y="1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20264;p275">
              <a:extLst>
                <a:ext uri="{FF2B5EF4-FFF2-40B4-BE49-F238E27FC236}">
                  <a16:creationId xmlns:a16="http://schemas.microsoft.com/office/drawing/2014/main" id="{EF59A062-18D5-0868-38DC-A62C019AB774}"/>
                </a:ext>
              </a:extLst>
            </p:cNvPr>
            <p:cNvSpPr/>
            <p:nvPr/>
          </p:nvSpPr>
          <p:spPr>
            <a:xfrm>
              <a:off x="9048300" y="4315533"/>
              <a:ext cx="94569" cy="40192"/>
            </a:xfrm>
            <a:custGeom>
              <a:avLst/>
              <a:gdLst/>
              <a:ahLst/>
              <a:cxnLst/>
              <a:rect l="l" t="t" r="r" b="b"/>
              <a:pathLst>
                <a:path w="40" h="17" extrusionOk="0">
                  <a:moveTo>
                    <a:pt x="23" y="0"/>
                  </a:moveTo>
                  <a:lnTo>
                    <a:pt x="7" y="3"/>
                  </a:lnTo>
                  <a:lnTo>
                    <a:pt x="0" y="10"/>
                  </a:lnTo>
                  <a:lnTo>
                    <a:pt x="14" y="14"/>
                  </a:lnTo>
                  <a:lnTo>
                    <a:pt x="40" y="17"/>
                  </a:lnTo>
                  <a:lnTo>
                    <a:pt x="38" y="10"/>
                  </a:lnTo>
                  <a:lnTo>
                    <a:pt x="2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20265;p275">
              <a:extLst>
                <a:ext uri="{FF2B5EF4-FFF2-40B4-BE49-F238E27FC236}">
                  <a16:creationId xmlns:a16="http://schemas.microsoft.com/office/drawing/2014/main" id="{79025897-A858-57E5-0A21-0C62D803FED2}"/>
                </a:ext>
              </a:extLst>
            </p:cNvPr>
            <p:cNvSpPr/>
            <p:nvPr/>
          </p:nvSpPr>
          <p:spPr>
            <a:xfrm>
              <a:off x="6026827" y="3038857"/>
              <a:ext cx="101661" cy="56741"/>
            </a:xfrm>
            <a:custGeom>
              <a:avLst/>
              <a:gdLst/>
              <a:ahLst/>
              <a:cxnLst/>
              <a:rect l="l" t="t" r="r" b="b"/>
              <a:pathLst>
                <a:path w="43" h="24" extrusionOk="0">
                  <a:moveTo>
                    <a:pt x="12" y="0"/>
                  </a:moveTo>
                  <a:lnTo>
                    <a:pt x="0" y="9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38" y="24"/>
                  </a:lnTo>
                  <a:lnTo>
                    <a:pt x="43" y="14"/>
                  </a:lnTo>
                  <a:lnTo>
                    <a:pt x="33" y="5"/>
                  </a:lnTo>
                  <a:lnTo>
                    <a:pt x="28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20266;p275">
              <a:extLst>
                <a:ext uri="{FF2B5EF4-FFF2-40B4-BE49-F238E27FC236}">
                  <a16:creationId xmlns:a16="http://schemas.microsoft.com/office/drawing/2014/main" id="{FEE1F103-187B-64AC-5361-7E296B7E99BC}"/>
                </a:ext>
              </a:extLst>
            </p:cNvPr>
            <p:cNvSpPr/>
            <p:nvPr/>
          </p:nvSpPr>
          <p:spPr>
            <a:xfrm>
              <a:off x="6026827" y="3038857"/>
              <a:ext cx="101661" cy="56741"/>
            </a:xfrm>
            <a:custGeom>
              <a:avLst/>
              <a:gdLst/>
              <a:ahLst/>
              <a:cxnLst/>
              <a:rect l="l" t="t" r="r" b="b"/>
              <a:pathLst>
                <a:path w="43" h="24" extrusionOk="0">
                  <a:moveTo>
                    <a:pt x="12" y="0"/>
                  </a:moveTo>
                  <a:lnTo>
                    <a:pt x="0" y="9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38" y="24"/>
                  </a:lnTo>
                  <a:lnTo>
                    <a:pt x="43" y="14"/>
                  </a:lnTo>
                  <a:lnTo>
                    <a:pt x="33" y="5"/>
                  </a:lnTo>
                  <a:lnTo>
                    <a:pt x="28" y="2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20267;p275">
              <a:extLst>
                <a:ext uri="{FF2B5EF4-FFF2-40B4-BE49-F238E27FC236}">
                  <a16:creationId xmlns:a16="http://schemas.microsoft.com/office/drawing/2014/main" id="{838F934A-77FE-4ACF-CDC5-74F4028D31FD}"/>
                </a:ext>
              </a:extLst>
            </p:cNvPr>
            <p:cNvSpPr/>
            <p:nvPr/>
          </p:nvSpPr>
          <p:spPr>
            <a:xfrm>
              <a:off x="6345997" y="3140518"/>
              <a:ext cx="68562" cy="33099"/>
            </a:xfrm>
            <a:custGeom>
              <a:avLst/>
              <a:gdLst/>
              <a:ahLst/>
              <a:cxnLst/>
              <a:rect l="l" t="t" r="r" b="b"/>
              <a:pathLst>
                <a:path w="29" h="14" extrusionOk="0">
                  <a:moveTo>
                    <a:pt x="12" y="0"/>
                  </a:moveTo>
                  <a:lnTo>
                    <a:pt x="5" y="0"/>
                  </a:lnTo>
                  <a:lnTo>
                    <a:pt x="0" y="9"/>
                  </a:lnTo>
                  <a:lnTo>
                    <a:pt x="10" y="14"/>
                  </a:lnTo>
                  <a:lnTo>
                    <a:pt x="26" y="14"/>
                  </a:lnTo>
                  <a:lnTo>
                    <a:pt x="2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20268;p275">
              <a:extLst>
                <a:ext uri="{FF2B5EF4-FFF2-40B4-BE49-F238E27FC236}">
                  <a16:creationId xmlns:a16="http://schemas.microsoft.com/office/drawing/2014/main" id="{80100B95-99F2-8448-6A6D-90FDD647C342}"/>
                </a:ext>
              </a:extLst>
            </p:cNvPr>
            <p:cNvSpPr/>
            <p:nvPr/>
          </p:nvSpPr>
          <p:spPr>
            <a:xfrm>
              <a:off x="6345997" y="3140518"/>
              <a:ext cx="68562" cy="33099"/>
            </a:xfrm>
            <a:custGeom>
              <a:avLst/>
              <a:gdLst/>
              <a:ahLst/>
              <a:cxnLst/>
              <a:rect l="l" t="t" r="r" b="b"/>
              <a:pathLst>
                <a:path w="29" h="14" extrusionOk="0">
                  <a:moveTo>
                    <a:pt x="12" y="0"/>
                  </a:moveTo>
                  <a:lnTo>
                    <a:pt x="5" y="0"/>
                  </a:lnTo>
                  <a:lnTo>
                    <a:pt x="0" y="9"/>
                  </a:lnTo>
                  <a:lnTo>
                    <a:pt x="10" y="14"/>
                  </a:lnTo>
                  <a:lnTo>
                    <a:pt x="26" y="14"/>
                  </a:lnTo>
                  <a:lnTo>
                    <a:pt x="29" y="7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20269;p275">
              <a:extLst>
                <a:ext uri="{FF2B5EF4-FFF2-40B4-BE49-F238E27FC236}">
                  <a16:creationId xmlns:a16="http://schemas.microsoft.com/office/drawing/2014/main" id="{E2CA27FF-1028-1520-2675-DEA150132C9F}"/>
                </a:ext>
              </a:extLst>
            </p:cNvPr>
            <p:cNvSpPr/>
            <p:nvPr/>
          </p:nvSpPr>
          <p:spPr>
            <a:xfrm>
              <a:off x="6570598" y="3128697"/>
              <a:ext cx="78019" cy="56741"/>
            </a:xfrm>
            <a:custGeom>
              <a:avLst/>
              <a:gdLst/>
              <a:ahLst/>
              <a:cxnLst/>
              <a:rect l="l" t="t" r="r" b="b"/>
              <a:pathLst>
                <a:path w="33" h="24" extrusionOk="0">
                  <a:moveTo>
                    <a:pt x="22" y="0"/>
                  </a:moveTo>
                  <a:lnTo>
                    <a:pt x="7" y="7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24" y="24"/>
                  </a:lnTo>
                  <a:lnTo>
                    <a:pt x="33" y="17"/>
                  </a:lnTo>
                  <a:lnTo>
                    <a:pt x="33" y="5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20270;p275">
              <a:extLst>
                <a:ext uri="{FF2B5EF4-FFF2-40B4-BE49-F238E27FC236}">
                  <a16:creationId xmlns:a16="http://schemas.microsoft.com/office/drawing/2014/main" id="{84FA374E-1DB7-35B4-A6E2-195765560387}"/>
                </a:ext>
              </a:extLst>
            </p:cNvPr>
            <p:cNvSpPr/>
            <p:nvPr/>
          </p:nvSpPr>
          <p:spPr>
            <a:xfrm>
              <a:off x="6570598" y="3128697"/>
              <a:ext cx="78019" cy="56741"/>
            </a:xfrm>
            <a:custGeom>
              <a:avLst/>
              <a:gdLst/>
              <a:ahLst/>
              <a:cxnLst/>
              <a:rect l="l" t="t" r="r" b="b"/>
              <a:pathLst>
                <a:path w="33" h="24" extrusionOk="0">
                  <a:moveTo>
                    <a:pt x="22" y="0"/>
                  </a:moveTo>
                  <a:lnTo>
                    <a:pt x="7" y="7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24" y="24"/>
                  </a:lnTo>
                  <a:lnTo>
                    <a:pt x="33" y="17"/>
                  </a:lnTo>
                  <a:lnTo>
                    <a:pt x="33" y="5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20271;p275">
              <a:extLst>
                <a:ext uri="{FF2B5EF4-FFF2-40B4-BE49-F238E27FC236}">
                  <a16:creationId xmlns:a16="http://schemas.microsoft.com/office/drawing/2014/main" id="{6A78BAB3-A5BB-C746-1EA3-F00C54412CF2}"/>
                </a:ext>
              </a:extLst>
            </p:cNvPr>
            <p:cNvSpPr/>
            <p:nvPr/>
          </p:nvSpPr>
          <p:spPr>
            <a:xfrm>
              <a:off x="5929894" y="2875726"/>
              <a:ext cx="28371" cy="56741"/>
            </a:xfrm>
            <a:custGeom>
              <a:avLst/>
              <a:gdLst/>
              <a:ahLst/>
              <a:cxnLst/>
              <a:rect l="l" t="t" r="r" b="b"/>
              <a:pathLst>
                <a:path w="12" h="24" extrusionOk="0">
                  <a:moveTo>
                    <a:pt x="8" y="0"/>
                  </a:moveTo>
                  <a:lnTo>
                    <a:pt x="0" y="12"/>
                  </a:lnTo>
                  <a:lnTo>
                    <a:pt x="0" y="21"/>
                  </a:lnTo>
                  <a:lnTo>
                    <a:pt x="8" y="24"/>
                  </a:lnTo>
                  <a:lnTo>
                    <a:pt x="12" y="14"/>
                  </a:lnTo>
                  <a:lnTo>
                    <a:pt x="12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20272;p275">
              <a:extLst>
                <a:ext uri="{FF2B5EF4-FFF2-40B4-BE49-F238E27FC236}">
                  <a16:creationId xmlns:a16="http://schemas.microsoft.com/office/drawing/2014/main" id="{1E3D82DE-22CE-2F93-ED68-B3ED4DD9711A}"/>
                </a:ext>
              </a:extLst>
            </p:cNvPr>
            <p:cNvSpPr/>
            <p:nvPr/>
          </p:nvSpPr>
          <p:spPr>
            <a:xfrm>
              <a:off x="5929894" y="2875726"/>
              <a:ext cx="28371" cy="56741"/>
            </a:xfrm>
            <a:custGeom>
              <a:avLst/>
              <a:gdLst/>
              <a:ahLst/>
              <a:cxnLst/>
              <a:rect l="l" t="t" r="r" b="b"/>
              <a:pathLst>
                <a:path w="12" h="24" extrusionOk="0">
                  <a:moveTo>
                    <a:pt x="8" y="0"/>
                  </a:moveTo>
                  <a:lnTo>
                    <a:pt x="0" y="12"/>
                  </a:lnTo>
                  <a:lnTo>
                    <a:pt x="0" y="21"/>
                  </a:lnTo>
                  <a:lnTo>
                    <a:pt x="8" y="24"/>
                  </a:lnTo>
                  <a:lnTo>
                    <a:pt x="12" y="14"/>
                  </a:lnTo>
                  <a:lnTo>
                    <a:pt x="12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20273;p275">
              <a:extLst>
                <a:ext uri="{FF2B5EF4-FFF2-40B4-BE49-F238E27FC236}">
                  <a16:creationId xmlns:a16="http://schemas.microsoft.com/office/drawing/2014/main" id="{FF3E5C99-CBE5-E86B-9F31-4ACDE896A832}"/>
                </a:ext>
              </a:extLst>
            </p:cNvPr>
            <p:cNvSpPr/>
            <p:nvPr/>
          </p:nvSpPr>
          <p:spPr>
            <a:xfrm>
              <a:off x="5925166" y="2953745"/>
              <a:ext cx="40192" cy="89840"/>
            </a:xfrm>
            <a:custGeom>
              <a:avLst/>
              <a:gdLst/>
              <a:ahLst/>
              <a:cxnLst/>
              <a:rect l="l" t="t" r="r" b="b"/>
              <a:pathLst>
                <a:path w="17" h="38" extrusionOk="0">
                  <a:moveTo>
                    <a:pt x="5" y="0"/>
                  </a:moveTo>
                  <a:lnTo>
                    <a:pt x="0" y="7"/>
                  </a:lnTo>
                  <a:lnTo>
                    <a:pt x="0" y="22"/>
                  </a:lnTo>
                  <a:lnTo>
                    <a:pt x="5" y="38"/>
                  </a:lnTo>
                  <a:lnTo>
                    <a:pt x="14" y="34"/>
                  </a:lnTo>
                  <a:lnTo>
                    <a:pt x="17" y="24"/>
                  </a:lnTo>
                  <a:lnTo>
                    <a:pt x="12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20274;p275">
              <a:extLst>
                <a:ext uri="{FF2B5EF4-FFF2-40B4-BE49-F238E27FC236}">
                  <a16:creationId xmlns:a16="http://schemas.microsoft.com/office/drawing/2014/main" id="{32D3C659-F9C6-989A-20DD-F9E5954EF427}"/>
                </a:ext>
              </a:extLst>
            </p:cNvPr>
            <p:cNvSpPr/>
            <p:nvPr/>
          </p:nvSpPr>
          <p:spPr>
            <a:xfrm>
              <a:off x="5925166" y="2953745"/>
              <a:ext cx="40192" cy="89840"/>
            </a:xfrm>
            <a:custGeom>
              <a:avLst/>
              <a:gdLst/>
              <a:ahLst/>
              <a:cxnLst/>
              <a:rect l="l" t="t" r="r" b="b"/>
              <a:pathLst>
                <a:path w="17" h="38" extrusionOk="0">
                  <a:moveTo>
                    <a:pt x="5" y="0"/>
                  </a:moveTo>
                  <a:lnTo>
                    <a:pt x="0" y="7"/>
                  </a:lnTo>
                  <a:lnTo>
                    <a:pt x="0" y="22"/>
                  </a:lnTo>
                  <a:lnTo>
                    <a:pt x="5" y="38"/>
                  </a:lnTo>
                  <a:lnTo>
                    <a:pt x="14" y="34"/>
                  </a:lnTo>
                  <a:lnTo>
                    <a:pt x="17" y="24"/>
                  </a:lnTo>
                  <a:lnTo>
                    <a:pt x="12" y="5"/>
                  </a:lnTo>
                  <a:lnTo>
                    <a:pt x="5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0275;p275">
              <a:extLst>
                <a:ext uri="{FF2B5EF4-FFF2-40B4-BE49-F238E27FC236}">
                  <a16:creationId xmlns:a16="http://schemas.microsoft.com/office/drawing/2014/main" id="{812A3FE3-BBA9-20F2-B7E2-EDC22B6A970B}"/>
                </a:ext>
              </a:extLst>
            </p:cNvPr>
            <p:cNvSpPr/>
            <p:nvPr/>
          </p:nvSpPr>
          <p:spPr>
            <a:xfrm>
              <a:off x="7390982" y="1795279"/>
              <a:ext cx="101661" cy="44920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4" y="0"/>
                  </a:moveTo>
                  <a:lnTo>
                    <a:pt x="0" y="5"/>
                  </a:lnTo>
                  <a:lnTo>
                    <a:pt x="2" y="14"/>
                  </a:lnTo>
                  <a:lnTo>
                    <a:pt x="12" y="19"/>
                  </a:lnTo>
                  <a:lnTo>
                    <a:pt x="24" y="17"/>
                  </a:lnTo>
                  <a:lnTo>
                    <a:pt x="36" y="17"/>
                  </a:lnTo>
                  <a:lnTo>
                    <a:pt x="43" y="12"/>
                  </a:lnTo>
                  <a:lnTo>
                    <a:pt x="40" y="7"/>
                  </a:lnTo>
                  <a:lnTo>
                    <a:pt x="26" y="5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0276;p275">
              <a:extLst>
                <a:ext uri="{FF2B5EF4-FFF2-40B4-BE49-F238E27FC236}">
                  <a16:creationId xmlns:a16="http://schemas.microsoft.com/office/drawing/2014/main" id="{07E6D248-8F3E-3112-B2CB-E13B3A3DA4CC}"/>
                </a:ext>
              </a:extLst>
            </p:cNvPr>
            <p:cNvSpPr/>
            <p:nvPr/>
          </p:nvSpPr>
          <p:spPr>
            <a:xfrm>
              <a:off x="7390982" y="1795279"/>
              <a:ext cx="101661" cy="44920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4" y="0"/>
                  </a:moveTo>
                  <a:lnTo>
                    <a:pt x="0" y="5"/>
                  </a:lnTo>
                  <a:lnTo>
                    <a:pt x="2" y="14"/>
                  </a:lnTo>
                  <a:lnTo>
                    <a:pt x="12" y="19"/>
                  </a:lnTo>
                  <a:lnTo>
                    <a:pt x="24" y="17"/>
                  </a:lnTo>
                  <a:lnTo>
                    <a:pt x="36" y="17"/>
                  </a:lnTo>
                  <a:lnTo>
                    <a:pt x="43" y="12"/>
                  </a:lnTo>
                  <a:lnTo>
                    <a:pt x="40" y="7"/>
                  </a:lnTo>
                  <a:lnTo>
                    <a:pt x="26" y="5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0277;p275">
              <a:extLst>
                <a:ext uri="{FF2B5EF4-FFF2-40B4-BE49-F238E27FC236}">
                  <a16:creationId xmlns:a16="http://schemas.microsoft.com/office/drawing/2014/main" id="{FA03CA93-D90C-2C9C-3654-AE9C77E16560}"/>
                </a:ext>
              </a:extLst>
            </p:cNvPr>
            <p:cNvSpPr/>
            <p:nvPr/>
          </p:nvSpPr>
          <p:spPr>
            <a:xfrm>
              <a:off x="7268043" y="1778729"/>
              <a:ext cx="89840" cy="28371"/>
            </a:xfrm>
            <a:custGeom>
              <a:avLst/>
              <a:gdLst/>
              <a:ahLst/>
              <a:cxnLst/>
              <a:rect l="l" t="t" r="r" b="b"/>
              <a:pathLst>
                <a:path w="38" h="12" extrusionOk="0">
                  <a:moveTo>
                    <a:pt x="14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12"/>
                  </a:lnTo>
                  <a:lnTo>
                    <a:pt x="26" y="12"/>
                  </a:lnTo>
                  <a:lnTo>
                    <a:pt x="38" y="9"/>
                  </a:lnTo>
                  <a:lnTo>
                    <a:pt x="38" y="5"/>
                  </a:lnTo>
                  <a:lnTo>
                    <a:pt x="28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0278;p275">
              <a:extLst>
                <a:ext uri="{FF2B5EF4-FFF2-40B4-BE49-F238E27FC236}">
                  <a16:creationId xmlns:a16="http://schemas.microsoft.com/office/drawing/2014/main" id="{7ACAF786-A623-60FC-39A8-752B0F52DFCD}"/>
                </a:ext>
              </a:extLst>
            </p:cNvPr>
            <p:cNvSpPr/>
            <p:nvPr/>
          </p:nvSpPr>
          <p:spPr>
            <a:xfrm>
              <a:off x="7268043" y="1778729"/>
              <a:ext cx="89840" cy="28371"/>
            </a:xfrm>
            <a:custGeom>
              <a:avLst/>
              <a:gdLst/>
              <a:ahLst/>
              <a:cxnLst/>
              <a:rect l="l" t="t" r="r" b="b"/>
              <a:pathLst>
                <a:path w="38" h="12" extrusionOk="0">
                  <a:moveTo>
                    <a:pt x="14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12"/>
                  </a:lnTo>
                  <a:lnTo>
                    <a:pt x="26" y="12"/>
                  </a:lnTo>
                  <a:lnTo>
                    <a:pt x="38" y="9"/>
                  </a:lnTo>
                  <a:lnTo>
                    <a:pt x="38" y="5"/>
                  </a:lnTo>
                  <a:lnTo>
                    <a:pt x="28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0279;p275">
              <a:extLst>
                <a:ext uri="{FF2B5EF4-FFF2-40B4-BE49-F238E27FC236}">
                  <a16:creationId xmlns:a16="http://schemas.microsoft.com/office/drawing/2014/main" id="{D6F72B9A-AAB3-E244-7481-187D11CD2EB3}"/>
                </a:ext>
              </a:extLst>
            </p:cNvPr>
            <p:cNvSpPr/>
            <p:nvPr/>
          </p:nvSpPr>
          <p:spPr>
            <a:xfrm>
              <a:off x="7199480" y="1783458"/>
              <a:ext cx="33099" cy="16550"/>
            </a:xfrm>
            <a:custGeom>
              <a:avLst/>
              <a:gdLst/>
              <a:ahLst/>
              <a:cxnLst/>
              <a:rect l="l" t="t" r="r" b="b"/>
              <a:pathLst>
                <a:path w="14" h="7" extrusionOk="0">
                  <a:moveTo>
                    <a:pt x="0" y="0"/>
                  </a:moveTo>
                  <a:lnTo>
                    <a:pt x="5" y="5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0280;p275">
              <a:extLst>
                <a:ext uri="{FF2B5EF4-FFF2-40B4-BE49-F238E27FC236}">
                  <a16:creationId xmlns:a16="http://schemas.microsoft.com/office/drawing/2014/main" id="{95D1E09B-05DF-7CE0-C147-2D0A864ACBB2}"/>
                </a:ext>
              </a:extLst>
            </p:cNvPr>
            <p:cNvSpPr/>
            <p:nvPr/>
          </p:nvSpPr>
          <p:spPr>
            <a:xfrm>
              <a:off x="7199480" y="1783458"/>
              <a:ext cx="33099" cy="16550"/>
            </a:xfrm>
            <a:custGeom>
              <a:avLst/>
              <a:gdLst/>
              <a:ahLst/>
              <a:cxnLst/>
              <a:rect l="l" t="t" r="r" b="b"/>
              <a:pathLst>
                <a:path w="14" h="7" extrusionOk="0">
                  <a:moveTo>
                    <a:pt x="0" y="0"/>
                  </a:moveTo>
                  <a:lnTo>
                    <a:pt x="5" y="5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0281;p275">
              <a:extLst>
                <a:ext uri="{FF2B5EF4-FFF2-40B4-BE49-F238E27FC236}">
                  <a16:creationId xmlns:a16="http://schemas.microsoft.com/office/drawing/2014/main" id="{D29460A8-736C-745B-05CB-CAE97C70D1D4}"/>
                </a:ext>
              </a:extLst>
            </p:cNvPr>
            <p:cNvSpPr/>
            <p:nvPr/>
          </p:nvSpPr>
          <p:spPr>
            <a:xfrm>
              <a:off x="7133282" y="1721988"/>
              <a:ext cx="99297" cy="40192"/>
            </a:xfrm>
            <a:custGeom>
              <a:avLst/>
              <a:gdLst/>
              <a:ahLst/>
              <a:cxnLst/>
              <a:rect l="l" t="t" r="r" b="b"/>
              <a:pathLst>
                <a:path w="42" h="17" extrusionOk="0">
                  <a:moveTo>
                    <a:pt x="12" y="0"/>
                  </a:moveTo>
                  <a:lnTo>
                    <a:pt x="0" y="7"/>
                  </a:lnTo>
                  <a:lnTo>
                    <a:pt x="12" y="17"/>
                  </a:lnTo>
                  <a:lnTo>
                    <a:pt x="26" y="14"/>
                  </a:lnTo>
                  <a:lnTo>
                    <a:pt x="35" y="14"/>
                  </a:lnTo>
                  <a:lnTo>
                    <a:pt x="42" y="12"/>
                  </a:lnTo>
                  <a:lnTo>
                    <a:pt x="38" y="5"/>
                  </a:lnTo>
                  <a:lnTo>
                    <a:pt x="26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0282;p275">
              <a:extLst>
                <a:ext uri="{FF2B5EF4-FFF2-40B4-BE49-F238E27FC236}">
                  <a16:creationId xmlns:a16="http://schemas.microsoft.com/office/drawing/2014/main" id="{DF81F1EA-F679-32CA-4104-59CE21A5A9E6}"/>
                </a:ext>
              </a:extLst>
            </p:cNvPr>
            <p:cNvSpPr/>
            <p:nvPr/>
          </p:nvSpPr>
          <p:spPr>
            <a:xfrm>
              <a:off x="7133282" y="1721988"/>
              <a:ext cx="99297" cy="40192"/>
            </a:xfrm>
            <a:custGeom>
              <a:avLst/>
              <a:gdLst/>
              <a:ahLst/>
              <a:cxnLst/>
              <a:rect l="l" t="t" r="r" b="b"/>
              <a:pathLst>
                <a:path w="42" h="17" extrusionOk="0">
                  <a:moveTo>
                    <a:pt x="12" y="0"/>
                  </a:moveTo>
                  <a:lnTo>
                    <a:pt x="0" y="7"/>
                  </a:lnTo>
                  <a:lnTo>
                    <a:pt x="12" y="17"/>
                  </a:lnTo>
                  <a:lnTo>
                    <a:pt x="26" y="14"/>
                  </a:lnTo>
                  <a:lnTo>
                    <a:pt x="35" y="14"/>
                  </a:lnTo>
                  <a:lnTo>
                    <a:pt x="42" y="12"/>
                  </a:lnTo>
                  <a:lnTo>
                    <a:pt x="38" y="5"/>
                  </a:lnTo>
                  <a:lnTo>
                    <a:pt x="26" y="2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0283;p275">
              <a:extLst>
                <a:ext uri="{FF2B5EF4-FFF2-40B4-BE49-F238E27FC236}">
                  <a16:creationId xmlns:a16="http://schemas.microsoft.com/office/drawing/2014/main" id="{A5132498-FAB8-3E2C-8329-EAE93D4E6CEE}"/>
                </a:ext>
              </a:extLst>
            </p:cNvPr>
            <p:cNvSpPr/>
            <p:nvPr/>
          </p:nvSpPr>
          <p:spPr>
            <a:xfrm>
              <a:off x="8294114" y="1958410"/>
              <a:ext cx="63834" cy="33099"/>
            </a:xfrm>
            <a:custGeom>
              <a:avLst/>
              <a:gdLst/>
              <a:ahLst/>
              <a:cxnLst/>
              <a:rect l="l" t="t" r="r" b="b"/>
              <a:pathLst>
                <a:path w="27" h="14" extrusionOk="0">
                  <a:moveTo>
                    <a:pt x="10" y="0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7" y="10"/>
                  </a:lnTo>
                  <a:lnTo>
                    <a:pt x="27" y="10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0284;p275">
              <a:extLst>
                <a:ext uri="{FF2B5EF4-FFF2-40B4-BE49-F238E27FC236}">
                  <a16:creationId xmlns:a16="http://schemas.microsoft.com/office/drawing/2014/main" id="{8DD95637-C55C-773B-BA48-E99DE24F20A1}"/>
                </a:ext>
              </a:extLst>
            </p:cNvPr>
            <p:cNvSpPr/>
            <p:nvPr/>
          </p:nvSpPr>
          <p:spPr>
            <a:xfrm>
              <a:off x="8294114" y="1958410"/>
              <a:ext cx="63834" cy="33099"/>
            </a:xfrm>
            <a:custGeom>
              <a:avLst/>
              <a:gdLst/>
              <a:ahLst/>
              <a:cxnLst/>
              <a:rect l="l" t="t" r="r" b="b"/>
              <a:pathLst>
                <a:path w="27" h="14" extrusionOk="0">
                  <a:moveTo>
                    <a:pt x="10" y="0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7" y="10"/>
                  </a:lnTo>
                  <a:lnTo>
                    <a:pt x="27" y="10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0285;p275">
              <a:extLst>
                <a:ext uri="{FF2B5EF4-FFF2-40B4-BE49-F238E27FC236}">
                  <a16:creationId xmlns:a16="http://schemas.microsoft.com/office/drawing/2014/main" id="{3A1B5E2F-0A61-4417-F444-BA99909D614D}"/>
                </a:ext>
              </a:extLst>
            </p:cNvPr>
            <p:cNvSpPr/>
            <p:nvPr/>
          </p:nvSpPr>
          <p:spPr>
            <a:xfrm>
              <a:off x="8178267" y="1889848"/>
              <a:ext cx="106390" cy="68562"/>
            </a:xfrm>
            <a:custGeom>
              <a:avLst/>
              <a:gdLst/>
              <a:ahLst/>
              <a:cxnLst/>
              <a:rect l="l" t="t" r="r" b="b"/>
              <a:pathLst>
                <a:path w="45" h="29" extrusionOk="0">
                  <a:moveTo>
                    <a:pt x="23" y="0"/>
                  </a:moveTo>
                  <a:lnTo>
                    <a:pt x="9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14" y="24"/>
                  </a:lnTo>
                  <a:lnTo>
                    <a:pt x="21" y="29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5" y="20"/>
                  </a:lnTo>
                  <a:lnTo>
                    <a:pt x="40" y="8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0286;p275">
              <a:extLst>
                <a:ext uri="{FF2B5EF4-FFF2-40B4-BE49-F238E27FC236}">
                  <a16:creationId xmlns:a16="http://schemas.microsoft.com/office/drawing/2014/main" id="{71C674D5-8CC9-8784-804F-9CB7D0C3889D}"/>
                </a:ext>
              </a:extLst>
            </p:cNvPr>
            <p:cNvSpPr/>
            <p:nvPr/>
          </p:nvSpPr>
          <p:spPr>
            <a:xfrm>
              <a:off x="8178267" y="1889848"/>
              <a:ext cx="106390" cy="68562"/>
            </a:xfrm>
            <a:custGeom>
              <a:avLst/>
              <a:gdLst/>
              <a:ahLst/>
              <a:cxnLst/>
              <a:rect l="l" t="t" r="r" b="b"/>
              <a:pathLst>
                <a:path w="45" h="29" extrusionOk="0">
                  <a:moveTo>
                    <a:pt x="23" y="0"/>
                  </a:moveTo>
                  <a:lnTo>
                    <a:pt x="9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14" y="24"/>
                  </a:lnTo>
                  <a:lnTo>
                    <a:pt x="21" y="29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5" y="20"/>
                  </a:lnTo>
                  <a:lnTo>
                    <a:pt x="40" y="8"/>
                  </a:lnTo>
                  <a:lnTo>
                    <a:pt x="23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0287;p275">
              <a:extLst>
                <a:ext uri="{FF2B5EF4-FFF2-40B4-BE49-F238E27FC236}">
                  <a16:creationId xmlns:a16="http://schemas.microsoft.com/office/drawing/2014/main" id="{C20BB043-9C5F-3D61-9690-4C3F0526B508}"/>
                </a:ext>
              </a:extLst>
            </p:cNvPr>
            <p:cNvSpPr/>
            <p:nvPr/>
          </p:nvSpPr>
          <p:spPr>
            <a:xfrm>
              <a:off x="8334306" y="1908761"/>
              <a:ext cx="61470" cy="44920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0" y="0"/>
                  </a:moveTo>
                  <a:lnTo>
                    <a:pt x="0" y="4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24" y="19"/>
                  </a:lnTo>
                  <a:lnTo>
                    <a:pt x="26" y="14"/>
                  </a:lnTo>
                  <a:lnTo>
                    <a:pt x="24" y="7"/>
                  </a:lnTo>
                  <a:lnTo>
                    <a:pt x="12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0288;p275">
              <a:extLst>
                <a:ext uri="{FF2B5EF4-FFF2-40B4-BE49-F238E27FC236}">
                  <a16:creationId xmlns:a16="http://schemas.microsoft.com/office/drawing/2014/main" id="{7D398CB7-A55C-2567-D945-9536838D6AC4}"/>
                </a:ext>
              </a:extLst>
            </p:cNvPr>
            <p:cNvSpPr/>
            <p:nvPr/>
          </p:nvSpPr>
          <p:spPr>
            <a:xfrm>
              <a:off x="8334306" y="1908761"/>
              <a:ext cx="61470" cy="44920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0" y="0"/>
                  </a:moveTo>
                  <a:lnTo>
                    <a:pt x="0" y="4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24" y="19"/>
                  </a:lnTo>
                  <a:lnTo>
                    <a:pt x="26" y="14"/>
                  </a:lnTo>
                  <a:lnTo>
                    <a:pt x="24" y="7"/>
                  </a:lnTo>
                  <a:lnTo>
                    <a:pt x="12" y="4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0289;p275">
              <a:extLst>
                <a:ext uri="{FF2B5EF4-FFF2-40B4-BE49-F238E27FC236}">
                  <a16:creationId xmlns:a16="http://schemas.microsoft.com/office/drawing/2014/main" id="{864DA1A8-2058-FA96-43F2-9A43CB2476D3}"/>
                </a:ext>
              </a:extLst>
            </p:cNvPr>
            <p:cNvSpPr/>
            <p:nvPr/>
          </p:nvSpPr>
          <p:spPr>
            <a:xfrm>
              <a:off x="8272836" y="1880391"/>
              <a:ext cx="40192" cy="37827"/>
            </a:xfrm>
            <a:custGeom>
              <a:avLst/>
              <a:gdLst/>
              <a:ahLst/>
              <a:cxnLst/>
              <a:rect l="l" t="t" r="r" b="b"/>
              <a:pathLst>
                <a:path w="17" h="16" extrusionOk="0">
                  <a:moveTo>
                    <a:pt x="7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9" y="16"/>
                  </a:lnTo>
                  <a:lnTo>
                    <a:pt x="17" y="16"/>
                  </a:lnTo>
                  <a:lnTo>
                    <a:pt x="17" y="12"/>
                  </a:lnTo>
                  <a:lnTo>
                    <a:pt x="12" y="7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0290;p275">
              <a:extLst>
                <a:ext uri="{FF2B5EF4-FFF2-40B4-BE49-F238E27FC236}">
                  <a16:creationId xmlns:a16="http://schemas.microsoft.com/office/drawing/2014/main" id="{3560E838-9117-B449-8D21-34E0DB383862}"/>
                </a:ext>
              </a:extLst>
            </p:cNvPr>
            <p:cNvSpPr/>
            <p:nvPr/>
          </p:nvSpPr>
          <p:spPr>
            <a:xfrm>
              <a:off x="8272836" y="1880391"/>
              <a:ext cx="40192" cy="37827"/>
            </a:xfrm>
            <a:custGeom>
              <a:avLst/>
              <a:gdLst/>
              <a:ahLst/>
              <a:cxnLst/>
              <a:rect l="l" t="t" r="r" b="b"/>
              <a:pathLst>
                <a:path w="17" h="16" extrusionOk="0">
                  <a:moveTo>
                    <a:pt x="7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9" y="16"/>
                  </a:lnTo>
                  <a:lnTo>
                    <a:pt x="17" y="16"/>
                  </a:lnTo>
                  <a:lnTo>
                    <a:pt x="17" y="12"/>
                  </a:lnTo>
                  <a:lnTo>
                    <a:pt x="12" y="7"/>
                  </a:lnTo>
                  <a:lnTo>
                    <a:pt x="7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0291;p275">
              <a:extLst>
                <a:ext uri="{FF2B5EF4-FFF2-40B4-BE49-F238E27FC236}">
                  <a16:creationId xmlns:a16="http://schemas.microsoft.com/office/drawing/2014/main" id="{5E7EC34A-7072-F595-CED6-AEE93AF109DE}"/>
                </a:ext>
              </a:extLst>
            </p:cNvPr>
            <p:cNvSpPr/>
            <p:nvPr/>
          </p:nvSpPr>
          <p:spPr>
            <a:xfrm>
              <a:off x="9024658" y="2043522"/>
              <a:ext cx="73291" cy="33099"/>
            </a:xfrm>
            <a:custGeom>
              <a:avLst/>
              <a:gdLst/>
              <a:ahLst/>
              <a:cxnLst/>
              <a:rect l="l" t="t" r="r" b="b"/>
              <a:pathLst>
                <a:path w="31" h="14" extrusionOk="0">
                  <a:moveTo>
                    <a:pt x="14" y="0"/>
                  </a:moveTo>
                  <a:lnTo>
                    <a:pt x="3" y="2"/>
                  </a:lnTo>
                  <a:lnTo>
                    <a:pt x="0" y="7"/>
                  </a:lnTo>
                  <a:lnTo>
                    <a:pt x="3" y="12"/>
                  </a:lnTo>
                  <a:lnTo>
                    <a:pt x="12" y="14"/>
                  </a:lnTo>
                  <a:lnTo>
                    <a:pt x="22" y="14"/>
                  </a:lnTo>
                  <a:lnTo>
                    <a:pt x="31" y="9"/>
                  </a:lnTo>
                  <a:lnTo>
                    <a:pt x="26" y="4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0292;p275">
              <a:extLst>
                <a:ext uri="{FF2B5EF4-FFF2-40B4-BE49-F238E27FC236}">
                  <a16:creationId xmlns:a16="http://schemas.microsoft.com/office/drawing/2014/main" id="{5F2743A6-5533-E1CF-BF5A-9B5C3234B50D}"/>
                </a:ext>
              </a:extLst>
            </p:cNvPr>
            <p:cNvSpPr/>
            <p:nvPr/>
          </p:nvSpPr>
          <p:spPr>
            <a:xfrm>
              <a:off x="9024658" y="2043522"/>
              <a:ext cx="73291" cy="33099"/>
            </a:xfrm>
            <a:custGeom>
              <a:avLst/>
              <a:gdLst/>
              <a:ahLst/>
              <a:cxnLst/>
              <a:rect l="l" t="t" r="r" b="b"/>
              <a:pathLst>
                <a:path w="31" h="14" extrusionOk="0">
                  <a:moveTo>
                    <a:pt x="14" y="0"/>
                  </a:moveTo>
                  <a:lnTo>
                    <a:pt x="3" y="2"/>
                  </a:lnTo>
                  <a:lnTo>
                    <a:pt x="0" y="7"/>
                  </a:lnTo>
                  <a:lnTo>
                    <a:pt x="3" y="12"/>
                  </a:lnTo>
                  <a:lnTo>
                    <a:pt x="12" y="14"/>
                  </a:lnTo>
                  <a:lnTo>
                    <a:pt x="22" y="14"/>
                  </a:lnTo>
                  <a:lnTo>
                    <a:pt x="31" y="9"/>
                  </a:lnTo>
                  <a:lnTo>
                    <a:pt x="26" y="4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0293;p275">
              <a:extLst>
                <a:ext uri="{FF2B5EF4-FFF2-40B4-BE49-F238E27FC236}">
                  <a16:creationId xmlns:a16="http://schemas.microsoft.com/office/drawing/2014/main" id="{63DF66E3-1F06-2D8F-7FFA-7A93FABFB052}"/>
                </a:ext>
              </a:extLst>
            </p:cNvPr>
            <p:cNvSpPr/>
            <p:nvPr/>
          </p:nvSpPr>
          <p:spPr>
            <a:xfrm>
              <a:off x="2549060" y="2329592"/>
              <a:ext cx="118211" cy="68562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50" y="0"/>
                  </a:moveTo>
                  <a:lnTo>
                    <a:pt x="36" y="5"/>
                  </a:lnTo>
                  <a:lnTo>
                    <a:pt x="24" y="10"/>
                  </a:lnTo>
                  <a:lnTo>
                    <a:pt x="12" y="17"/>
                  </a:lnTo>
                  <a:lnTo>
                    <a:pt x="3" y="22"/>
                  </a:lnTo>
                  <a:lnTo>
                    <a:pt x="0" y="29"/>
                  </a:lnTo>
                  <a:lnTo>
                    <a:pt x="10" y="26"/>
                  </a:lnTo>
                  <a:lnTo>
                    <a:pt x="31" y="19"/>
                  </a:lnTo>
                  <a:lnTo>
                    <a:pt x="41" y="10"/>
                  </a:lnTo>
                  <a:lnTo>
                    <a:pt x="50" y="5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0294;p275">
              <a:extLst>
                <a:ext uri="{FF2B5EF4-FFF2-40B4-BE49-F238E27FC236}">
                  <a16:creationId xmlns:a16="http://schemas.microsoft.com/office/drawing/2014/main" id="{ED0BA2DA-DD2A-9255-D087-75AC25FA2A10}"/>
                </a:ext>
              </a:extLst>
            </p:cNvPr>
            <p:cNvSpPr/>
            <p:nvPr/>
          </p:nvSpPr>
          <p:spPr>
            <a:xfrm>
              <a:off x="2549060" y="2329592"/>
              <a:ext cx="118211" cy="68562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50" y="0"/>
                  </a:moveTo>
                  <a:lnTo>
                    <a:pt x="36" y="5"/>
                  </a:lnTo>
                  <a:lnTo>
                    <a:pt x="24" y="10"/>
                  </a:lnTo>
                  <a:lnTo>
                    <a:pt x="12" y="17"/>
                  </a:lnTo>
                  <a:lnTo>
                    <a:pt x="3" y="22"/>
                  </a:lnTo>
                  <a:lnTo>
                    <a:pt x="0" y="29"/>
                  </a:lnTo>
                  <a:lnTo>
                    <a:pt x="10" y="26"/>
                  </a:lnTo>
                  <a:lnTo>
                    <a:pt x="31" y="19"/>
                  </a:lnTo>
                  <a:lnTo>
                    <a:pt x="41" y="10"/>
                  </a:lnTo>
                  <a:lnTo>
                    <a:pt x="50" y="5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0295;p275">
              <a:extLst>
                <a:ext uri="{FF2B5EF4-FFF2-40B4-BE49-F238E27FC236}">
                  <a16:creationId xmlns:a16="http://schemas.microsoft.com/office/drawing/2014/main" id="{528646C6-6D37-6331-EB5E-764E49938FE7}"/>
                </a:ext>
              </a:extLst>
            </p:cNvPr>
            <p:cNvSpPr/>
            <p:nvPr/>
          </p:nvSpPr>
          <p:spPr>
            <a:xfrm>
              <a:off x="2404843" y="1963138"/>
              <a:ext cx="2392590" cy="3910414"/>
            </a:xfrm>
            <a:custGeom>
              <a:avLst/>
              <a:gdLst/>
              <a:ahLst/>
              <a:cxnLst/>
              <a:rect l="l" t="t" r="r" b="b"/>
              <a:pathLst>
                <a:path w="1012" h="1654" extrusionOk="0">
                  <a:moveTo>
                    <a:pt x="582" y="405"/>
                  </a:moveTo>
                  <a:lnTo>
                    <a:pt x="574" y="403"/>
                  </a:lnTo>
                  <a:lnTo>
                    <a:pt x="572" y="398"/>
                  </a:lnTo>
                  <a:lnTo>
                    <a:pt x="579" y="391"/>
                  </a:lnTo>
                  <a:lnTo>
                    <a:pt x="593" y="388"/>
                  </a:lnTo>
                  <a:lnTo>
                    <a:pt x="603" y="388"/>
                  </a:lnTo>
                  <a:lnTo>
                    <a:pt x="615" y="386"/>
                  </a:lnTo>
                  <a:lnTo>
                    <a:pt x="615" y="391"/>
                  </a:lnTo>
                  <a:lnTo>
                    <a:pt x="605" y="398"/>
                  </a:lnTo>
                  <a:lnTo>
                    <a:pt x="593" y="403"/>
                  </a:lnTo>
                  <a:lnTo>
                    <a:pt x="582" y="405"/>
                  </a:lnTo>
                  <a:close/>
                  <a:moveTo>
                    <a:pt x="631" y="381"/>
                  </a:moveTo>
                  <a:lnTo>
                    <a:pt x="617" y="379"/>
                  </a:lnTo>
                  <a:lnTo>
                    <a:pt x="617" y="374"/>
                  </a:lnTo>
                  <a:lnTo>
                    <a:pt x="627" y="372"/>
                  </a:lnTo>
                  <a:lnTo>
                    <a:pt x="634" y="367"/>
                  </a:lnTo>
                  <a:lnTo>
                    <a:pt x="641" y="367"/>
                  </a:lnTo>
                  <a:lnTo>
                    <a:pt x="641" y="369"/>
                  </a:lnTo>
                  <a:lnTo>
                    <a:pt x="641" y="376"/>
                  </a:lnTo>
                  <a:lnTo>
                    <a:pt x="631" y="381"/>
                  </a:lnTo>
                  <a:close/>
                  <a:moveTo>
                    <a:pt x="536" y="331"/>
                  </a:moveTo>
                  <a:lnTo>
                    <a:pt x="527" y="329"/>
                  </a:lnTo>
                  <a:lnTo>
                    <a:pt x="527" y="319"/>
                  </a:lnTo>
                  <a:lnTo>
                    <a:pt x="536" y="312"/>
                  </a:lnTo>
                  <a:lnTo>
                    <a:pt x="544" y="305"/>
                  </a:lnTo>
                  <a:lnTo>
                    <a:pt x="555" y="305"/>
                  </a:lnTo>
                  <a:lnTo>
                    <a:pt x="560" y="298"/>
                  </a:lnTo>
                  <a:lnTo>
                    <a:pt x="572" y="296"/>
                  </a:lnTo>
                  <a:lnTo>
                    <a:pt x="577" y="305"/>
                  </a:lnTo>
                  <a:lnTo>
                    <a:pt x="582" y="310"/>
                  </a:lnTo>
                  <a:lnTo>
                    <a:pt x="589" y="317"/>
                  </a:lnTo>
                  <a:lnTo>
                    <a:pt x="586" y="326"/>
                  </a:lnTo>
                  <a:lnTo>
                    <a:pt x="591" y="331"/>
                  </a:lnTo>
                  <a:lnTo>
                    <a:pt x="605" y="334"/>
                  </a:lnTo>
                  <a:lnTo>
                    <a:pt x="615" y="348"/>
                  </a:lnTo>
                  <a:lnTo>
                    <a:pt x="615" y="362"/>
                  </a:lnTo>
                  <a:lnTo>
                    <a:pt x="608" y="365"/>
                  </a:lnTo>
                  <a:lnTo>
                    <a:pt x="601" y="360"/>
                  </a:lnTo>
                  <a:lnTo>
                    <a:pt x="598" y="369"/>
                  </a:lnTo>
                  <a:lnTo>
                    <a:pt x="593" y="376"/>
                  </a:lnTo>
                  <a:lnTo>
                    <a:pt x="582" y="384"/>
                  </a:lnTo>
                  <a:lnTo>
                    <a:pt x="574" y="379"/>
                  </a:lnTo>
                  <a:lnTo>
                    <a:pt x="577" y="367"/>
                  </a:lnTo>
                  <a:lnTo>
                    <a:pt x="584" y="362"/>
                  </a:lnTo>
                  <a:lnTo>
                    <a:pt x="586" y="353"/>
                  </a:lnTo>
                  <a:lnTo>
                    <a:pt x="582" y="350"/>
                  </a:lnTo>
                  <a:lnTo>
                    <a:pt x="572" y="353"/>
                  </a:lnTo>
                  <a:lnTo>
                    <a:pt x="560" y="355"/>
                  </a:lnTo>
                  <a:lnTo>
                    <a:pt x="555" y="360"/>
                  </a:lnTo>
                  <a:lnTo>
                    <a:pt x="546" y="374"/>
                  </a:lnTo>
                  <a:lnTo>
                    <a:pt x="544" y="388"/>
                  </a:lnTo>
                  <a:lnTo>
                    <a:pt x="534" y="391"/>
                  </a:lnTo>
                  <a:lnTo>
                    <a:pt x="529" y="386"/>
                  </a:lnTo>
                  <a:lnTo>
                    <a:pt x="532" y="372"/>
                  </a:lnTo>
                  <a:lnTo>
                    <a:pt x="544" y="357"/>
                  </a:lnTo>
                  <a:lnTo>
                    <a:pt x="546" y="345"/>
                  </a:lnTo>
                  <a:lnTo>
                    <a:pt x="558" y="338"/>
                  </a:lnTo>
                  <a:lnTo>
                    <a:pt x="572" y="338"/>
                  </a:lnTo>
                  <a:lnTo>
                    <a:pt x="577" y="336"/>
                  </a:lnTo>
                  <a:lnTo>
                    <a:pt x="572" y="334"/>
                  </a:lnTo>
                  <a:lnTo>
                    <a:pt x="558" y="331"/>
                  </a:lnTo>
                  <a:lnTo>
                    <a:pt x="548" y="326"/>
                  </a:lnTo>
                  <a:lnTo>
                    <a:pt x="536" y="331"/>
                  </a:lnTo>
                  <a:close/>
                  <a:moveTo>
                    <a:pt x="494" y="274"/>
                  </a:moveTo>
                  <a:lnTo>
                    <a:pt x="489" y="267"/>
                  </a:lnTo>
                  <a:lnTo>
                    <a:pt x="489" y="255"/>
                  </a:lnTo>
                  <a:lnTo>
                    <a:pt x="489" y="243"/>
                  </a:lnTo>
                  <a:lnTo>
                    <a:pt x="491" y="234"/>
                  </a:lnTo>
                  <a:lnTo>
                    <a:pt x="501" y="226"/>
                  </a:lnTo>
                  <a:lnTo>
                    <a:pt x="506" y="229"/>
                  </a:lnTo>
                  <a:lnTo>
                    <a:pt x="508" y="248"/>
                  </a:lnTo>
                  <a:lnTo>
                    <a:pt x="508" y="262"/>
                  </a:lnTo>
                  <a:lnTo>
                    <a:pt x="501" y="274"/>
                  </a:lnTo>
                  <a:lnTo>
                    <a:pt x="494" y="274"/>
                  </a:lnTo>
                  <a:close/>
                  <a:moveTo>
                    <a:pt x="430" y="141"/>
                  </a:moveTo>
                  <a:lnTo>
                    <a:pt x="420" y="138"/>
                  </a:lnTo>
                  <a:lnTo>
                    <a:pt x="411" y="136"/>
                  </a:lnTo>
                  <a:lnTo>
                    <a:pt x="408" y="129"/>
                  </a:lnTo>
                  <a:lnTo>
                    <a:pt x="413" y="127"/>
                  </a:lnTo>
                  <a:lnTo>
                    <a:pt x="425" y="127"/>
                  </a:lnTo>
                  <a:lnTo>
                    <a:pt x="437" y="117"/>
                  </a:lnTo>
                  <a:lnTo>
                    <a:pt x="441" y="108"/>
                  </a:lnTo>
                  <a:lnTo>
                    <a:pt x="449" y="100"/>
                  </a:lnTo>
                  <a:lnTo>
                    <a:pt x="456" y="100"/>
                  </a:lnTo>
                  <a:lnTo>
                    <a:pt x="460" y="103"/>
                  </a:lnTo>
                  <a:lnTo>
                    <a:pt x="458" y="110"/>
                  </a:lnTo>
                  <a:lnTo>
                    <a:pt x="451" y="119"/>
                  </a:lnTo>
                  <a:lnTo>
                    <a:pt x="458" y="122"/>
                  </a:lnTo>
                  <a:lnTo>
                    <a:pt x="468" y="117"/>
                  </a:lnTo>
                  <a:lnTo>
                    <a:pt x="477" y="110"/>
                  </a:lnTo>
                  <a:lnTo>
                    <a:pt x="491" y="112"/>
                  </a:lnTo>
                  <a:lnTo>
                    <a:pt x="498" y="122"/>
                  </a:lnTo>
                  <a:lnTo>
                    <a:pt x="494" y="124"/>
                  </a:lnTo>
                  <a:lnTo>
                    <a:pt x="489" y="124"/>
                  </a:lnTo>
                  <a:lnTo>
                    <a:pt x="475" y="127"/>
                  </a:lnTo>
                  <a:lnTo>
                    <a:pt x="465" y="134"/>
                  </a:lnTo>
                  <a:lnTo>
                    <a:pt x="458" y="136"/>
                  </a:lnTo>
                  <a:lnTo>
                    <a:pt x="449" y="136"/>
                  </a:lnTo>
                  <a:lnTo>
                    <a:pt x="439" y="141"/>
                  </a:lnTo>
                  <a:lnTo>
                    <a:pt x="430" y="141"/>
                  </a:lnTo>
                  <a:close/>
                  <a:moveTo>
                    <a:pt x="439" y="62"/>
                  </a:moveTo>
                  <a:lnTo>
                    <a:pt x="451" y="60"/>
                  </a:lnTo>
                  <a:lnTo>
                    <a:pt x="458" y="62"/>
                  </a:lnTo>
                  <a:lnTo>
                    <a:pt x="465" y="69"/>
                  </a:lnTo>
                  <a:lnTo>
                    <a:pt x="456" y="79"/>
                  </a:lnTo>
                  <a:lnTo>
                    <a:pt x="441" y="79"/>
                  </a:lnTo>
                  <a:lnTo>
                    <a:pt x="432" y="91"/>
                  </a:lnTo>
                  <a:lnTo>
                    <a:pt x="422" y="91"/>
                  </a:lnTo>
                  <a:lnTo>
                    <a:pt x="425" y="84"/>
                  </a:lnTo>
                  <a:lnTo>
                    <a:pt x="415" y="81"/>
                  </a:lnTo>
                  <a:lnTo>
                    <a:pt x="415" y="74"/>
                  </a:lnTo>
                  <a:lnTo>
                    <a:pt x="406" y="69"/>
                  </a:lnTo>
                  <a:lnTo>
                    <a:pt x="411" y="62"/>
                  </a:lnTo>
                  <a:lnTo>
                    <a:pt x="425" y="62"/>
                  </a:lnTo>
                  <a:lnTo>
                    <a:pt x="439" y="62"/>
                  </a:lnTo>
                  <a:close/>
                  <a:moveTo>
                    <a:pt x="280" y="0"/>
                  </a:moveTo>
                  <a:lnTo>
                    <a:pt x="268" y="5"/>
                  </a:lnTo>
                  <a:lnTo>
                    <a:pt x="259" y="5"/>
                  </a:lnTo>
                  <a:lnTo>
                    <a:pt x="249" y="5"/>
                  </a:lnTo>
                  <a:lnTo>
                    <a:pt x="237" y="10"/>
                  </a:lnTo>
                  <a:lnTo>
                    <a:pt x="230" y="10"/>
                  </a:lnTo>
                  <a:lnTo>
                    <a:pt x="218" y="17"/>
                  </a:lnTo>
                  <a:lnTo>
                    <a:pt x="206" y="17"/>
                  </a:lnTo>
                  <a:lnTo>
                    <a:pt x="192" y="22"/>
                  </a:lnTo>
                  <a:lnTo>
                    <a:pt x="183" y="27"/>
                  </a:lnTo>
                  <a:lnTo>
                    <a:pt x="175" y="46"/>
                  </a:lnTo>
                  <a:lnTo>
                    <a:pt x="171" y="55"/>
                  </a:lnTo>
                  <a:lnTo>
                    <a:pt x="164" y="46"/>
                  </a:lnTo>
                  <a:lnTo>
                    <a:pt x="140" y="50"/>
                  </a:lnTo>
                  <a:lnTo>
                    <a:pt x="128" y="55"/>
                  </a:lnTo>
                  <a:lnTo>
                    <a:pt x="121" y="67"/>
                  </a:lnTo>
                  <a:lnTo>
                    <a:pt x="133" y="72"/>
                  </a:lnTo>
                  <a:lnTo>
                    <a:pt x="152" y="69"/>
                  </a:lnTo>
                  <a:lnTo>
                    <a:pt x="142" y="79"/>
                  </a:lnTo>
                  <a:lnTo>
                    <a:pt x="130" y="84"/>
                  </a:lnTo>
                  <a:lnTo>
                    <a:pt x="121" y="77"/>
                  </a:lnTo>
                  <a:lnTo>
                    <a:pt x="111" y="79"/>
                  </a:lnTo>
                  <a:lnTo>
                    <a:pt x="78" y="93"/>
                  </a:lnTo>
                  <a:lnTo>
                    <a:pt x="59" y="115"/>
                  </a:lnTo>
                  <a:lnTo>
                    <a:pt x="47" y="119"/>
                  </a:lnTo>
                  <a:lnTo>
                    <a:pt x="45" y="129"/>
                  </a:lnTo>
                  <a:lnTo>
                    <a:pt x="57" y="131"/>
                  </a:lnTo>
                  <a:lnTo>
                    <a:pt x="47" y="141"/>
                  </a:lnTo>
                  <a:lnTo>
                    <a:pt x="54" y="146"/>
                  </a:lnTo>
                  <a:lnTo>
                    <a:pt x="76" y="148"/>
                  </a:lnTo>
                  <a:lnTo>
                    <a:pt x="59" y="160"/>
                  </a:lnTo>
                  <a:lnTo>
                    <a:pt x="35" y="172"/>
                  </a:lnTo>
                  <a:lnTo>
                    <a:pt x="9" y="177"/>
                  </a:lnTo>
                  <a:lnTo>
                    <a:pt x="0" y="184"/>
                  </a:lnTo>
                  <a:lnTo>
                    <a:pt x="2" y="191"/>
                  </a:lnTo>
                  <a:lnTo>
                    <a:pt x="45" y="177"/>
                  </a:lnTo>
                  <a:lnTo>
                    <a:pt x="76" y="162"/>
                  </a:lnTo>
                  <a:lnTo>
                    <a:pt x="109" y="148"/>
                  </a:lnTo>
                  <a:lnTo>
                    <a:pt x="133" y="131"/>
                  </a:lnTo>
                  <a:lnTo>
                    <a:pt x="149" y="119"/>
                  </a:lnTo>
                  <a:lnTo>
                    <a:pt x="156" y="117"/>
                  </a:lnTo>
                  <a:lnTo>
                    <a:pt x="159" y="122"/>
                  </a:lnTo>
                  <a:lnTo>
                    <a:pt x="137" y="138"/>
                  </a:lnTo>
                  <a:lnTo>
                    <a:pt x="123" y="146"/>
                  </a:lnTo>
                  <a:lnTo>
                    <a:pt x="118" y="153"/>
                  </a:lnTo>
                  <a:lnTo>
                    <a:pt x="121" y="157"/>
                  </a:lnTo>
                  <a:lnTo>
                    <a:pt x="128" y="157"/>
                  </a:lnTo>
                  <a:lnTo>
                    <a:pt x="135" y="150"/>
                  </a:lnTo>
                  <a:lnTo>
                    <a:pt x="147" y="143"/>
                  </a:lnTo>
                  <a:lnTo>
                    <a:pt x="161" y="134"/>
                  </a:lnTo>
                  <a:lnTo>
                    <a:pt x="168" y="127"/>
                  </a:lnTo>
                  <a:lnTo>
                    <a:pt x="178" y="119"/>
                  </a:lnTo>
                  <a:lnTo>
                    <a:pt x="183" y="122"/>
                  </a:lnTo>
                  <a:lnTo>
                    <a:pt x="183" y="129"/>
                  </a:lnTo>
                  <a:lnTo>
                    <a:pt x="175" y="136"/>
                  </a:lnTo>
                  <a:lnTo>
                    <a:pt x="178" y="143"/>
                  </a:lnTo>
                  <a:lnTo>
                    <a:pt x="190" y="143"/>
                  </a:lnTo>
                  <a:lnTo>
                    <a:pt x="202" y="141"/>
                  </a:lnTo>
                  <a:lnTo>
                    <a:pt x="209" y="143"/>
                  </a:lnTo>
                  <a:lnTo>
                    <a:pt x="211" y="150"/>
                  </a:lnTo>
                  <a:lnTo>
                    <a:pt x="211" y="160"/>
                  </a:lnTo>
                  <a:lnTo>
                    <a:pt x="213" y="165"/>
                  </a:lnTo>
                  <a:lnTo>
                    <a:pt x="211" y="172"/>
                  </a:lnTo>
                  <a:lnTo>
                    <a:pt x="218" y="172"/>
                  </a:lnTo>
                  <a:lnTo>
                    <a:pt x="223" y="162"/>
                  </a:lnTo>
                  <a:lnTo>
                    <a:pt x="228" y="155"/>
                  </a:lnTo>
                  <a:lnTo>
                    <a:pt x="232" y="157"/>
                  </a:lnTo>
                  <a:lnTo>
                    <a:pt x="235" y="172"/>
                  </a:lnTo>
                  <a:lnTo>
                    <a:pt x="225" y="181"/>
                  </a:lnTo>
                  <a:lnTo>
                    <a:pt x="225" y="191"/>
                  </a:lnTo>
                  <a:lnTo>
                    <a:pt x="225" y="203"/>
                  </a:lnTo>
                  <a:lnTo>
                    <a:pt x="230" y="210"/>
                  </a:lnTo>
                  <a:lnTo>
                    <a:pt x="223" y="217"/>
                  </a:lnTo>
                  <a:lnTo>
                    <a:pt x="221" y="222"/>
                  </a:lnTo>
                  <a:lnTo>
                    <a:pt x="223" y="231"/>
                  </a:lnTo>
                  <a:lnTo>
                    <a:pt x="223" y="241"/>
                  </a:lnTo>
                  <a:lnTo>
                    <a:pt x="228" y="255"/>
                  </a:lnTo>
                  <a:lnTo>
                    <a:pt x="225" y="260"/>
                  </a:lnTo>
                  <a:lnTo>
                    <a:pt x="225" y="269"/>
                  </a:lnTo>
                  <a:lnTo>
                    <a:pt x="232" y="281"/>
                  </a:lnTo>
                  <a:lnTo>
                    <a:pt x="235" y="298"/>
                  </a:lnTo>
                  <a:lnTo>
                    <a:pt x="232" y="312"/>
                  </a:lnTo>
                  <a:lnTo>
                    <a:pt x="228" y="324"/>
                  </a:lnTo>
                  <a:lnTo>
                    <a:pt x="223" y="324"/>
                  </a:lnTo>
                  <a:lnTo>
                    <a:pt x="218" y="310"/>
                  </a:lnTo>
                  <a:lnTo>
                    <a:pt x="211" y="307"/>
                  </a:lnTo>
                  <a:lnTo>
                    <a:pt x="206" y="310"/>
                  </a:lnTo>
                  <a:lnTo>
                    <a:pt x="209" y="322"/>
                  </a:lnTo>
                  <a:lnTo>
                    <a:pt x="204" y="338"/>
                  </a:lnTo>
                  <a:lnTo>
                    <a:pt x="197" y="343"/>
                  </a:lnTo>
                  <a:lnTo>
                    <a:pt x="192" y="355"/>
                  </a:lnTo>
                  <a:lnTo>
                    <a:pt x="185" y="365"/>
                  </a:lnTo>
                  <a:lnTo>
                    <a:pt x="178" y="379"/>
                  </a:lnTo>
                  <a:lnTo>
                    <a:pt x="173" y="391"/>
                  </a:lnTo>
                  <a:lnTo>
                    <a:pt x="168" y="398"/>
                  </a:lnTo>
                  <a:lnTo>
                    <a:pt x="164" y="407"/>
                  </a:lnTo>
                  <a:lnTo>
                    <a:pt x="164" y="414"/>
                  </a:lnTo>
                  <a:lnTo>
                    <a:pt x="161" y="424"/>
                  </a:lnTo>
                  <a:lnTo>
                    <a:pt x="161" y="438"/>
                  </a:lnTo>
                  <a:lnTo>
                    <a:pt x="168" y="448"/>
                  </a:lnTo>
                  <a:lnTo>
                    <a:pt x="171" y="457"/>
                  </a:lnTo>
                  <a:lnTo>
                    <a:pt x="171" y="474"/>
                  </a:lnTo>
                  <a:lnTo>
                    <a:pt x="185" y="493"/>
                  </a:lnTo>
                  <a:lnTo>
                    <a:pt x="192" y="500"/>
                  </a:lnTo>
                  <a:lnTo>
                    <a:pt x="194" y="510"/>
                  </a:lnTo>
                  <a:lnTo>
                    <a:pt x="194" y="522"/>
                  </a:lnTo>
                  <a:lnTo>
                    <a:pt x="194" y="533"/>
                  </a:lnTo>
                  <a:lnTo>
                    <a:pt x="199" y="543"/>
                  </a:lnTo>
                  <a:lnTo>
                    <a:pt x="209" y="550"/>
                  </a:lnTo>
                  <a:lnTo>
                    <a:pt x="213" y="557"/>
                  </a:lnTo>
                  <a:lnTo>
                    <a:pt x="213" y="564"/>
                  </a:lnTo>
                  <a:lnTo>
                    <a:pt x="204" y="569"/>
                  </a:lnTo>
                  <a:lnTo>
                    <a:pt x="204" y="576"/>
                  </a:lnTo>
                  <a:lnTo>
                    <a:pt x="209" y="586"/>
                  </a:lnTo>
                  <a:lnTo>
                    <a:pt x="216" y="588"/>
                  </a:lnTo>
                  <a:lnTo>
                    <a:pt x="223" y="600"/>
                  </a:lnTo>
                  <a:lnTo>
                    <a:pt x="223" y="605"/>
                  </a:lnTo>
                  <a:lnTo>
                    <a:pt x="223" y="617"/>
                  </a:lnTo>
                  <a:lnTo>
                    <a:pt x="228" y="626"/>
                  </a:lnTo>
                  <a:lnTo>
                    <a:pt x="235" y="631"/>
                  </a:lnTo>
                  <a:lnTo>
                    <a:pt x="242" y="633"/>
                  </a:lnTo>
                  <a:lnTo>
                    <a:pt x="247" y="631"/>
                  </a:lnTo>
                  <a:lnTo>
                    <a:pt x="242" y="614"/>
                  </a:lnTo>
                  <a:lnTo>
                    <a:pt x="235" y="602"/>
                  </a:lnTo>
                  <a:lnTo>
                    <a:pt x="232" y="588"/>
                  </a:lnTo>
                  <a:lnTo>
                    <a:pt x="223" y="576"/>
                  </a:lnTo>
                  <a:lnTo>
                    <a:pt x="223" y="564"/>
                  </a:lnTo>
                  <a:lnTo>
                    <a:pt x="221" y="555"/>
                  </a:lnTo>
                  <a:lnTo>
                    <a:pt x="218" y="545"/>
                  </a:lnTo>
                  <a:lnTo>
                    <a:pt x="223" y="536"/>
                  </a:lnTo>
                  <a:lnTo>
                    <a:pt x="228" y="531"/>
                  </a:lnTo>
                  <a:lnTo>
                    <a:pt x="232" y="533"/>
                  </a:lnTo>
                  <a:lnTo>
                    <a:pt x="232" y="545"/>
                  </a:lnTo>
                  <a:lnTo>
                    <a:pt x="235" y="562"/>
                  </a:lnTo>
                  <a:lnTo>
                    <a:pt x="240" y="567"/>
                  </a:lnTo>
                  <a:lnTo>
                    <a:pt x="240" y="574"/>
                  </a:lnTo>
                  <a:lnTo>
                    <a:pt x="240" y="581"/>
                  </a:lnTo>
                  <a:lnTo>
                    <a:pt x="244" y="588"/>
                  </a:lnTo>
                  <a:lnTo>
                    <a:pt x="249" y="591"/>
                  </a:lnTo>
                  <a:lnTo>
                    <a:pt x="254" y="598"/>
                  </a:lnTo>
                  <a:lnTo>
                    <a:pt x="251" y="602"/>
                  </a:lnTo>
                  <a:lnTo>
                    <a:pt x="254" y="610"/>
                  </a:lnTo>
                  <a:lnTo>
                    <a:pt x="261" y="610"/>
                  </a:lnTo>
                  <a:lnTo>
                    <a:pt x="268" y="617"/>
                  </a:lnTo>
                  <a:lnTo>
                    <a:pt x="268" y="629"/>
                  </a:lnTo>
                  <a:lnTo>
                    <a:pt x="273" y="638"/>
                  </a:lnTo>
                  <a:lnTo>
                    <a:pt x="280" y="648"/>
                  </a:lnTo>
                  <a:lnTo>
                    <a:pt x="282" y="662"/>
                  </a:lnTo>
                  <a:lnTo>
                    <a:pt x="275" y="667"/>
                  </a:lnTo>
                  <a:lnTo>
                    <a:pt x="268" y="674"/>
                  </a:lnTo>
                  <a:lnTo>
                    <a:pt x="270" y="686"/>
                  </a:lnTo>
                  <a:lnTo>
                    <a:pt x="285" y="693"/>
                  </a:lnTo>
                  <a:lnTo>
                    <a:pt x="292" y="705"/>
                  </a:lnTo>
                  <a:lnTo>
                    <a:pt x="301" y="712"/>
                  </a:lnTo>
                  <a:lnTo>
                    <a:pt x="308" y="712"/>
                  </a:lnTo>
                  <a:lnTo>
                    <a:pt x="320" y="721"/>
                  </a:lnTo>
                  <a:lnTo>
                    <a:pt x="330" y="729"/>
                  </a:lnTo>
                  <a:lnTo>
                    <a:pt x="339" y="726"/>
                  </a:lnTo>
                  <a:lnTo>
                    <a:pt x="351" y="736"/>
                  </a:lnTo>
                  <a:lnTo>
                    <a:pt x="363" y="736"/>
                  </a:lnTo>
                  <a:lnTo>
                    <a:pt x="370" y="731"/>
                  </a:lnTo>
                  <a:lnTo>
                    <a:pt x="384" y="731"/>
                  </a:lnTo>
                  <a:lnTo>
                    <a:pt x="392" y="741"/>
                  </a:lnTo>
                  <a:lnTo>
                    <a:pt x="399" y="750"/>
                  </a:lnTo>
                  <a:lnTo>
                    <a:pt x="411" y="760"/>
                  </a:lnTo>
                  <a:lnTo>
                    <a:pt x="425" y="769"/>
                  </a:lnTo>
                  <a:lnTo>
                    <a:pt x="434" y="769"/>
                  </a:lnTo>
                  <a:lnTo>
                    <a:pt x="441" y="764"/>
                  </a:lnTo>
                  <a:lnTo>
                    <a:pt x="446" y="767"/>
                  </a:lnTo>
                  <a:lnTo>
                    <a:pt x="446" y="776"/>
                  </a:lnTo>
                  <a:lnTo>
                    <a:pt x="451" y="783"/>
                  </a:lnTo>
                  <a:lnTo>
                    <a:pt x="460" y="798"/>
                  </a:lnTo>
                  <a:lnTo>
                    <a:pt x="460" y="812"/>
                  </a:lnTo>
                  <a:lnTo>
                    <a:pt x="465" y="814"/>
                  </a:lnTo>
                  <a:lnTo>
                    <a:pt x="472" y="810"/>
                  </a:lnTo>
                  <a:lnTo>
                    <a:pt x="479" y="814"/>
                  </a:lnTo>
                  <a:lnTo>
                    <a:pt x="482" y="826"/>
                  </a:lnTo>
                  <a:lnTo>
                    <a:pt x="489" y="833"/>
                  </a:lnTo>
                  <a:lnTo>
                    <a:pt x="498" y="836"/>
                  </a:lnTo>
                  <a:lnTo>
                    <a:pt x="508" y="840"/>
                  </a:lnTo>
                  <a:lnTo>
                    <a:pt x="515" y="840"/>
                  </a:lnTo>
                  <a:lnTo>
                    <a:pt x="517" y="831"/>
                  </a:lnTo>
                  <a:lnTo>
                    <a:pt x="529" y="829"/>
                  </a:lnTo>
                  <a:lnTo>
                    <a:pt x="532" y="831"/>
                  </a:lnTo>
                  <a:lnTo>
                    <a:pt x="534" y="838"/>
                  </a:lnTo>
                  <a:lnTo>
                    <a:pt x="539" y="843"/>
                  </a:lnTo>
                  <a:lnTo>
                    <a:pt x="546" y="850"/>
                  </a:lnTo>
                  <a:lnTo>
                    <a:pt x="546" y="862"/>
                  </a:lnTo>
                  <a:lnTo>
                    <a:pt x="546" y="876"/>
                  </a:lnTo>
                  <a:lnTo>
                    <a:pt x="546" y="888"/>
                  </a:lnTo>
                  <a:lnTo>
                    <a:pt x="541" y="898"/>
                  </a:lnTo>
                  <a:lnTo>
                    <a:pt x="534" y="907"/>
                  </a:lnTo>
                  <a:lnTo>
                    <a:pt x="522" y="919"/>
                  </a:lnTo>
                  <a:lnTo>
                    <a:pt x="515" y="926"/>
                  </a:lnTo>
                  <a:lnTo>
                    <a:pt x="513" y="931"/>
                  </a:lnTo>
                  <a:lnTo>
                    <a:pt x="513" y="948"/>
                  </a:lnTo>
                  <a:lnTo>
                    <a:pt x="508" y="957"/>
                  </a:lnTo>
                  <a:lnTo>
                    <a:pt x="506" y="964"/>
                  </a:lnTo>
                  <a:lnTo>
                    <a:pt x="510" y="967"/>
                  </a:lnTo>
                  <a:lnTo>
                    <a:pt x="515" y="967"/>
                  </a:lnTo>
                  <a:lnTo>
                    <a:pt x="517" y="969"/>
                  </a:lnTo>
                  <a:lnTo>
                    <a:pt x="513" y="974"/>
                  </a:lnTo>
                  <a:lnTo>
                    <a:pt x="508" y="978"/>
                  </a:lnTo>
                  <a:lnTo>
                    <a:pt x="506" y="998"/>
                  </a:lnTo>
                  <a:lnTo>
                    <a:pt x="510" y="1012"/>
                  </a:lnTo>
                  <a:lnTo>
                    <a:pt x="520" y="1017"/>
                  </a:lnTo>
                  <a:lnTo>
                    <a:pt x="525" y="1031"/>
                  </a:lnTo>
                  <a:lnTo>
                    <a:pt x="527" y="1043"/>
                  </a:lnTo>
                  <a:lnTo>
                    <a:pt x="534" y="1055"/>
                  </a:lnTo>
                  <a:lnTo>
                    <a:pt x="541" y="1062"/>
                  </a:lnTo>
                  <a:lnTo>
                    <a:pt x="546" y="1071"/>
                  </a:lnTo>
                  <a:lnTo>
                    <a:pt x="551" y="1078"/>
                  </a:lnTo>
                  <a:lnTo>
                    <a:pt x="553" y="1088"/>
                  </a:lnTo>
                  <a:lnTo>
                    <a:pt x="553" y="1097"/>
                  </a:lnTo>
                  <a:lnTo>
                    <a:pt x="555" y="1107"/>
                  </a:lnTo>
                  <a:lnTo>
                    <a:pt x="565" y="1117"/>
                  </a:lnTo>
                  <a:lnTo>
                    <a:pt x="579" y="1128"/>
                  </a:lnTo>
                  <a:lnTo>
                    <a:pt x="596" y="1138"/>
                  </a:lnTo>
                  <a:lnTo>
                    <a:pt x="608" y="1143"/>
                  </a:lnTo>
                  <a:lnTo>
                    <a:pt x="612" y="1152"/>
                  </a:lnTo>
                  <a:lnTo>
                    <a:pt x="617" y="1162"/>
                  </a:lnTo>
                  <a:lnTo>
                    <a:pt x="627" y="1176"/>
                  </a:lnTo>
                  <a:lnTo>
                    <a:pt x="629" y="1195"/>
                  </a:lnTo>
                  <a:lnTo>
                    <a:pt x="631" y="1219"/>
                  </a:lnTo>
                  <a:lnTo>
                    <a:pt x="636" y="1238"/>
                  </a:lnTo>
                  <a:lnTo>
                    <a:pt x="639" y="1247"/>
                  </a:lnTo>
                  <a:lnTo>
                    <a:pt x="639" y="1257"/>
                  </a:lnTo>
                  <a:lnTo>
                    <a:pt x="636" y="1266"/>
                  </a:lnTo>
                  <a:lnTo>
                    <a:pt x="639" y="1276"/>
                  </a:lnTo>
                  <a:lnTo>
                    <a:pt x="634" y="1288"/>
                  </a:lnTo>
                  <a:lnTo>
                    <a:pt x="629" y="1302"/>
                  </a:lnTo>
                  <a:lnTo>
                    <a:pt x="636" y="1309"/>
                  </a:lnTo>
                  <a:lnTo>
                    <a:pt x="636" y="1314"/>
                  </a:lnTo>
                  <a:lnTo>
                    <a:pt x="634" y="1316"/>
                  </a:lnTo>
                  <a:lnTo>
                    <a:pt x="634" y="1326"/>
                  </a:lnTo>
                  <a:lnTo>
                    <a:pt x="639" y="1335"/>
                  </a:lnTo>
                  <a:lnTo>
                    <a:pt x="643" y="1350"/>
                  </a:lnTo>
                  <a:lnTo>
                    <a:pt x="643" y="1364"/>
                  </a:lnTo>
                  <a:lnTo>
                    <a:pt x="643" y="1378"/>
                  </a:lnTo>
                  <a:lnTo>
                    <a:pt x="646" y="1395"/>
                  </a:lnTo>
                  <a:lnTo>
                    <a:pt x="643" y="1402"/>
                  </a:lnTo>
                  <a:lnTo>
                    <a:pt x="636" y="1407"/>
                  </a:lnTo>
                  <a:lnTo>
                    <a:pt x="639" y="1419"/>
                  </a:lnTo>
                  <a:lnTo>
                    <a:pt x="643" y="1428"/>
                  </a:lnTo>
                  <a:lnTo>
                    <a:pt x="643" y="1435"/>
                  </a:lnTo>
                  <a:lnTo>
                    <a:pt x="643" y="1447"/>
                  </a:lnTo>
                  <a:lnTo>
                    <a:pt x="651" y="1462"/>
                  </a:lnTo>
                  <a:lnTo>
                    <a:pt x="655" y="1471"/>
                  </a:lnTo>
                  <a:lnTo>
                    <a:pt x="660" y="1476"/>
                  </a:lnTo>
                  <a:lnTo>
                    <a:pt x="662" y="1469"/>
                  </a:lnTo>
                  <a:lnTo>
                    <a:pt x="667" y="1471"/>
                  </a:lnTo>
                  <a:lnTo>
                    <a:pt x="667" y="1483"/>
                  </a:lnTo>
                  <a:lnTo>
                    <a:pt x="665" y="1490"/>
                  </a:lnTo>
                  <a:lnTo>
                    <a:pt x="672" y="1500"/>
                  </a:lnTo>
                  <a:lnTo>
                    <a:pt x="670" y="1509"/>
                  </a:lnTo>
                  <a:lnTo>
                    <a:pt x="667" y="1521"/>
                  </a:lnTo>
                  <a:lnTo>
                    <a:pt x="660" y="1523"/>
                  </a:lnTo>
                  <a:lnTo>
                    <a:pt x="653" y="1528"/>
                  </a:lnTo>
                  <a:lnTo>
                    <a:pt x="653" y="1535"/>
                  </a:lnTo>
                  <a:lnTo>
                    <a:pt x="667" y="1535"/>
                  </a:lnTo>
                  <a:lnTo>
                    <a:pt x="670" y="1542"/>
                  </a:lnTo>
                  <a:lnTo>
                    <a:pt x="667" y="1550"/>
                  </a:lnTo>
                  <a:lnTo>
                    <a:pt x="670" y="1557"/>
                  </a:lnTo>
                  <a:lnTo>
                    <a:pt x="674" y="1554"/>
                  </a:lnTo>
                  <a:lnTo>
                    <a:pt x="674" y="1564"/>
                  </a:lnTo>
                  <a:lnTo>
                    <a:pt x="677" y="1576"/>
                  </a:lnTo>
                  <a:lnTo>
                    <a:pt x="674" y="1588"/>
                  </a:lnTo>
                  <a:lnTo>
                    <a:pt x="679" y="1592"/>
                  </a:lnTo>
                  <a:lnTo>
                    <a:pt x="689" y="1595"/>
                  </a:lnTo>
                  <a:lnTo>
                    <a:pt x="698" y="1604"/>
                  </a:lnTo>
                  <a:lnTo>
                    <a:pt x="708" y="1604"/>
                  </a:lnTo>
                  <a:lnTo>
                    <a:pt x="712" y="1607"/>
                  </a:lnTo>
                  <a:lnTo>
                    <a:pt x="712" y="1612"/>
                  </a:lnTo>
                  <a:lnTo>
                    <a:pt x="719" y="1616"/>
                  </a:lnTo>
                  <a:lnTo>
                    <a:pt x="727" y="1616"/>
                  </a:lnTo>
                  <a:lnTo>
                    <a:pt x="727" y="1621"/>
                  </a:lnTo>
                  <a:lnTo>
                    <a:pt x="722" y="1626"/>
                  </a:lnTo>
                  <a:lnTo>
                    <a:pt x="727" y="1628"/>
                  </a:lnTo>
                  <a:lnTo>
                    <a:pt x="734" y="1628"/>
                  </a:lnTo>
                  <a:lnTo>
                    <a:pt x="736" y="1621"/>
                  </a:lnTo>
                  <a:lnTo>
                    <a:pt x="741" y="1623"/>
                  </a:lnTo>
                  <a:lnTo>
                    <a:pt x="746" y="1633"/>
                  </a:lnTo>
                  <a:lnTo>
                    <a:pt x="736" y="1638"/>
                  </a:lnTo>
                  <a:lnTo>
                    <a:pt x="727" y="1638"/>
                  </a:lnTo>
                  <a:lnTo>
                    <a:pt x="727" y="1642"/>
                  </a:lnTo>
                  <a:lnTo>
                    <a:pt x="738" y="1645"/>
                  </a:lnTo>
                  <a:lnTo>
                    <a:pt x="755" y="1642"/>
                  </a:lnTo>
                  <a:lnTo>
                    <a:pt x="769" y="1645"/>
                  </a:lnTo>
                  <a:lnTo>
                    <a:pt x="788" y="1652"/>
                  </a:lnTo>
                  <a:lnTo>
                    <a:pt x="795" y="1652"/>
                  </a:lnTo>
                  <a:lnTo>
                    <a:pt x="800" y="1654"/>
                  </a:lnTo>
                  <a:lnTo>
                    <a:pt x="812" y="1652"/>
                  </a:lnTo>
                  <a:lnTo>
                    <a:pt x="810" y="1642"/>
                  </a:lnTo>
                  <a:lnTo>
                    <a:pt x="803" y="1642"/>
                  </a:lnTo>
                  <a:lnTo>
                    <a:pt x="795" y="1638"/>
                  </a:lnTo>
                  <a:lnTo>
                    <a:pt x="786" y="1635"/>
                  </a:lnTo>
                  <a:lnTo>
                    <a:pt x="779" y="1631"/>
                  </a:lnTo>
                  <a:lnTo>
                    <a:pt x="765" y="1631"/>
                  </a:lnTo>
                  <a:lnTo>
                    <a:pt x="762" y="1623"/>
                  </a:lnTo>
                  <a:lnTo>
                    <a:pt x="755" y="1619"/>
                  </a:lnTo>
                  <a:lnTo>
                    <a:pt x="755" y="1612"/>
                  </a:lnTo>
                  <a:lnTo>
                    <a:pt x="748" y="1607"/>
                  </a:lnTo>
                  <a:lnTo>
                    <a:pt x="748" y="1597"/>
                  </a:lnTo>
                  <a:lnTo>
                    <a:pt x="743" y="1592"/>
                  </a:lnTo>
                  <a:lnTo>
                    <a:pt x="741" y="1583"/>
                  </a:lnTo>
                  <a:lnTo>
                    <a:pt x="750" y="1573"/>
                  </a:lnTo>
                  <a:lnTo>
                    <a:pt x="748" y="1564"/>
                  </a:lnTo>
                  <a:lnTo>
                    <a:pt x="753" y="1557"/>
                  </a:lnTo>
                  <a:lnTo>
                    <a:pt x="760" y="1552"/>
                  </a:lnTo>
                  <a:lnTo>
                    <a:pt x="757" y="1542"/>
                  </a:lnTo>
                  <a:lnTo>
                    <a:pt x="753" y="1538"/>
                  </a:lnTo>
                  <a:lnTo>
                    <a:pt x="746" y="1538"/>
                  </a:lnTo>
                  <a:lnTo>
                    <a:pt x="741" y="1526"/>
                  </a:lnTo>
                  <a:lnTo>
                    <a:pt x="738" y="1516"/>
                  </a:lnTo>
                  <a:lnTo>
                    <a:pt x="748" y="1507"/>
                  </a:lnTo>
                  <a:lnTo>
                    <a:pt x="750" y="1488"/>
                  </a:lnTo>
                  <a:lnTo>
                    <a:pt x="746" y="1483"/>
                  </a:lnTo>
                  <a:lnTo>
                    <a:pt x="743" y="1481"/>
                  </a:lnTo>
                  <a:lnTo>
                    <a:pt x="741" y="1469"/>
                  </a:lnTo>
                  <a:lnTo>
                    <a:pt x="736" y="1462"/>
                  </a:lnTo>
                  <a:lnTo>
                    <a:pt x="731" y="1457"/>
                  </a:lnTo>
                  <a:lnTo>
                    <a:pt x="736" y="1450"/>
                  </a:lnTo>
                  <a:lnTo>
                    <a:pt x="741" y="1452"/>
                  </a:lnTo>
                  <a:lnTo>
                    <a:pt x="746" y="1457"/>
                  </a:lnTo>
                  <a:lnTo>
                    <a:pt x="750" y="1464"/>
                  </a:lnTo>
                  <a:lnTo>
                    <a:pt x="757" y="1462"/>
                  </a:lnTo>
                  <a:lnTo>
                    <a:pt x="760" y="1454"/>
                  </a:lnTo>
                  <a:lnTo>
                    <a:pt x="755" y="1445"/>
                  </a:lnTo>
                  <a:lnTo>
                    <a:pt x="757" y="1428"/>
                  </a:lnTo>
                  <a:lnTo>
                    <a:pt x="762" y="1426"/>
                  </a:lnTo>
                  <a:lnTo>
                    <a:pt x="769" y="1431"/>
                  </a:lnTo>
                  <a:lnTo>
                    <a:pt x="776" y="1428"/>
                  </a:lnTo>
                  <a:lnTo>
                    <a:pt x="786" y="1426"/>
                  </a:lnTo>
                  <a:lnTo>
                    <a:pt x="795" y="1426"/>
                  </a:lnTo>
                  <a:lnTo>
                    <a:pt x="807" y="1409"/>
                  </a:lnTo>
                  <a:lnTo>
                    <a:pt x="807" y="1397"/>
                  </a:lnTo>
                  <a:lnTo>
                    <a:pt x="803" y="1388"/>
                  </a:lnTo>
                  <a:lnTo>
                    <a:pt x="800" y="1383"/>
                  </a:lnTo>
                  <a:lnTo>
                    <a:pt x="791" y="1378"/>
                  </a:lnTo>
                  <a:lnTo>
                    <a:pt x="781" y="1371"/>
                  </a:lnTo>
                  <a:lnTo>
                    <a:pt x="774" y="1359"/>
                  </a:lnTo>
                  <a:lnTo>
                    <a:pt x="774" y="1350"/>
                  </a:lnTo>
                  <a:lnTo>
                    <a:pt x="779" y="1347"/>
                  </a:lnTo>
                  <a:lnTo>
                    <a:pt x="781" y="1354"/>
                  </a:lnTo>
                  <a:lnTo>
                    <a:pt x="791" y="1364"/>
                  </a:lnTo>
                  <a:lnTo>
                    <a:pt x="810" y="1371"/>
                  </a:lnTo>
                  <a:lnTo>
                    <a:pt x="824" y="1369"/>
                  </a:lnTo>
                  <a:lnTo>
                    <a:pt x="833" y="1359"/>
                  </a:lnTo>
                  <a:lnTo>
                    <a:pt x="833" y="1340"/>
                  </a:lnTo>
                  <a:lnTo>
                    <a:pt x="833" y="1324"/>
                  </a:lnTo>
                  <a:lnTo>
                    <a:pt x="836" y="1319"/>
                  </a:lnTo>
                  <a:lnTo>
                    <a:pt x="838" y="1319"/>
                  </a:lnTo>
                  <a:lnTo>
                    <a:pt x="841" y="1324"/>
                  </a:lnTo>
                  <a:lnTo>
                    <a:pt x="843" y="1331"/>
                  </a:lnTo>
                  <a:lnTo>
                    <a:pt x="848" y="1333"/>
                  </a:lnTo>
                  <a:lnTo>
                    <a:pt x="850" y="1321"/>
                  </a:lnTo>
                  <a:lnTo>
                    <a:pt x="857" y="1305"/>
                  </a:lnTo>
                  <a:lnTo>
                    <a:pt x="871" y="1290"/>
                  </a:lnTo>
                  <a:lnTo>
                    <a:pt x="871" y="1281"/>
                  </a:lnTo>
                  <a:lnTo>
                    <a:pt x="869" y="1264"/>
                  </a:lnTo>
                  <a:lnTo>
                    <a:pt x="869" y="1252"/>
                  </a:lnTo>
                  <a:lnTo>
                    <a:pt x="881" y="1243"/>
                  </a:lnTo>
                  <a:lnTo>
                    <a:pt x="900" y="1233"/>
                  </a:lnTo>
                  <a:lnTo>
                    <a:pt x="917" y="1228"/>
                  </a:lnTo>
                  <a:lnTo>
                    <a:pt x="938" y="1214"/>
                  </a:lnTo>
                  <a:lnTo>
                    <a:pt x="945" y="1197"/>
                  </a:lnTo>
                  <a:lnTo>
                    <a:pt x="955" y="1181"/>
                  </a:lnTo>
                  <a:lnTo>
                    <a:pt x="962" y="1169"/>
                  </a:lnTo>
                  <a:lnTo>
                    <a:pt x="964" y="1150"/>
                  </a:lnTo>
                  <a:lnTo>
                    <a:pt x="966" y="1145"/>
                  </a:lnTo>
                  <a:lnTo>
                    <a:pt x="964" y="1136"/>
                  </a:lnTo>
                  <a:lnTo>
                    <a:pt x="964" y="1128"/>
                  </a:lnTo>
                  <a:lnTo>
                    <a:pt x="966" y="1119"/>
                  </a:lnTo>
                  <a:lnTo>
                    <a:pt x="969" y="1112"/>
                  </a:lnTo>
                  <a:lnTo>
                    <a:pt x="964" y="1102"/>
                  </a:lnTo>
                  <a:lnTo>
                    <a:pt x="966" y="1090"/>
                  </a:lnTo>
                  <a:lnTo>
                    <a:pt x="985" y="1076"/>
                  </a:lnTo>
                  <a:lnTo>
                    <a:pt x="995" y="1055"/>
                  </a:lnTo>
                  <a:lnTo>
                    <a:pt x="1004" y="1040"/>
                  </a:lnTo>
                  <a:lnTo>
                    <a:pt x="1012" y="1033"/>
                  </a:lnTo>
                  <a:lnTo>
                    <a:pt x="1012" y="1026"/>
                  </a:lnTo>
                  <a:lnTo>
                    <a:pt x="1007" y="1019"/>
                  </a:lnTo>
                  <a:lnTo>
                    <a:pt x="1009" y="1009"/>
                  </a:lnTo>
                  <a:lnTo>
                    <a:pt x="1004" y="998"/>
                  </a:lnTo>
                  <a:lnTo>
                    <a:pt x="990" y="995"/>
                  </a:lnTo>
                  <a:lnTo>
                    <a:pt x="978" y="988"/>
                  </a:lnTo>
                  <a:lnTo>
                    <a:pt x="964" y="981"/>
                  </a:lnTo>
                  <a:lnTo>
                    <a:pt x="945" y="969"/>
                  </a:lnTo>
                  <a:lnTo>
                    <a:pt x="926" y="967"/>
                  </a:lnTo>
                  <a:lnTo>
                    <a:pt x="912" y="959"/>
                  </a:lnTo>
                  <a:lnTo>
                    <a:pt x="907" y="962"/>
                  </a:lnTo>
                  <a:lnTo>
                    <a:pt x="900" y="969"/>
                  </a:lnTo>
                  <a:lnTo>
                    <a:pt x="893" y="969"/>
                  </a:lnTo>
                  <a:lnTo>
                    <a:pt x="898" y="957"/>
                  </a:lnTo>
                  <a:lnTo>
                    <a:pt x="893" y="950"/>
                  </a:lnTo>
                  <a:lnTo>
                    <a:pt x="879" y="945"/>
                  </a:lnTo>
                  <a:lnTo>
                    <a:pt x="871" y="943"/>
                  </a:lnTo>
                  <a:lnTo>
                    <a:pt x="860" y="940"/>
                  </a:lnTo>
                  <a:lnTo>
                    <a:pt x="852" y="943"/>
                  </a:lnTo>
                  <a:lnTo>
                    <a:pt x="850" y="950"/>
                  </a:lnTo>
                  <a:lnTo>
                    <a:pt x="841" y="959"/>
                  </a:lnTo>
                  <a:lnTo>
                    <a:pt x="831" y="959"/>
                  </a:lnTo>
                  <a:lnTo>
                    <a:pt x="831" y="952"/>
                  </a:lnTo>
                  <a:lnTo>
                    <a:pt x="836" y="948"/>
                  </a:lnTo>
                  <a:lnTo>
                    <a:pt x="843" y="943"/>
                  </a:lnTo>
                  <a:lnTo>
                    <a:pt x="843" y="940"/>
                  </a:lnTo>
                  <a:lnTo>
                    <a:pt x="833" y="938"/>
                  </a:lnTo>
                  <a:lnTo>
                    <a:pt x="826" y="940"/>
                  </a:lnTo>
                  <a:lnTo>
                    <a:pt x="819" y="945"/>
                  </a:lnTo>
                  <a:lnTo>
                    <a:pt x="817" y="940"/>
                  </a:lnTo>
                  <a:lnTo>
                    <a:pt x="822" y="931"/>
                  </a:lnTo>
                  <a:lnTo>
                    <a:pt x="831" y="929"/>
                  </a:lnTo>
                  <a:lnTo>
                    <a:pt x="836" y="914"/>
                  </a:lnTo>
                  <a:lnTo>
                    <a:pt x="829" y="905"/>
                  </a:lnTo>
                  <a:lnTo>
                    <a:pt x="826" y="895"/>
                  </a:lnTo>
                  <a:lnTo>
                    <a:pt x="822" y="881"/>
                  </a:lnTo>
                  <a:lnTo>
                    <a:pt x="814" y="876"/>
                  </a:lnTo>
                  <a:lnTo>
                    <a:pt x="807" y="874"/>
                  </a:lnTo>
                  <a:lnTo>
                    <a:pt x="805" y="869"/>
                  </a:lnTo>
                  <a:lnTo>
                    <a:pt x="786" y="862"/>
                  </a:lnTo>
                  <a:lnTo>
                    <a:pt x="776" y="864"/>
                  </a:lnTo>
                  <a:lnTo>
                    <a:pt x="767" y="864"/>
                  </a:lnTo>
                  <a:lnTo>
                    <a:pt x="755" y="857"/>
                  </a:lnTo>
                  <a:lnTo>
                    <a:pt x="743" y="857"/>
                  </a:lnTo>
                  <a:lnTo>
                    <a:pt x="741" y="848"/>
                  </a:lnTo>
                  <a:lnTo>
                    <a:pt x="736" y="831"/>
                  </a:lnTo>
                  <a:lnTo>
                    <a:pt x="727" y="819"/>
                  </a:lnTo>
                  <a:lnTo>
                    <a:pt x="722" y="812"/>
                  </a:lnTo>
                  <a:lnTo>
                    <a:pt x="705" y="810"/>
                  </a:lnTo>
                  <a:lnTo>
                    <a:pt x="703" y="800"/>
                  </a:lnTo>
                  <a:lnTo>
                    <a:pt x="698" y="798"/>
                  </a:lnTo>
                  <a:lnTo>
                    <a:pt x="684" y="805"/>
                  </a:lnTo>
                  <a:lnTo>
                    <a:pt x="672" y="807"/>
                  </a:lnTo>
                  <a:lnTo>
                    <a:pt x="667" y="805"/>
                  </a:lnTo>
                  <a:lnTo>
                    <a:pt x="655" y="802"/>
                  </a:lnTo>
                  <a:lnTo>
                    <a:pt x="648" y="795"/>
                  </a:lnTo>
                  <a:lnTo>
                    <a:pt x="639" y="793"/>
                  </a:lnTo>
                  <a:lnTo>
                    <a:pt x="631" y="786"/>
                  </a:lnTo>
                  <a:lnTo>
                    <a:pt x="624" y="788"/>
                  </a:lnTo>
                  <a:lnTo>
                    <a:pt x="624" y="795"/>
                  </a:lnTo>
                  <a:lnTo>
                    <a:pt x="617" y="802"/>
                  </a:lnTo>
                  <a:lnTo>
                    <a:pt x="617" y="814"/>
                  </a:lnTo>
                  <a:lnTo>
                    <a:pt x="615" y="824"/>
                  </a:lnTo>
                  <a:lnTo>
                    <a:pt x="608" y="826"/>
                  </a:lnTo>
                  <a:lnTo>
                    <a:pt x="605" y="819"/>
                  </a:lnTo>
                  <a:lnTo>
                    <a:pt x="603" y="805"/>
                  </a:lnTo>
                  <a:lnTo>
                    <a:pt x="610" y="790"/>
                  </a:lnTo>
                  <a:lnTo>
                    <a:pt x="615" y="783"/>
                  </a:lnTo>
                  <a:lnTo>
                    <a:pt x="612" y="776"/>
                  </a:lnTo>
                  <a:lnTo>
                    <a:pt x="605" y="779"/>
                  </a:lnTo>
                  <a:lnTo>
                    <a:pt x="603" y="788"/>
                  </a:lnTo>
                  <a:lnTo>
                    <a:pt x="591" y="790"/>
                  </a:lnTo>
                  <a:lnTo>
                    <a:pt x="582" y="798"/>
                  </a:lnTo>
                  <a:lnTo>
                    <a:pt x="570" y="800"/>
                  </a:lnTo>
                  <a:lnTo>
                    <a:pt x="565" y="812"/>
                  </a:lnTo>
                  <a:lnTo>
                    <a:pt x="558" y="819"/>
                  </a:lnTo>
                  <a:lnTo>
                    <a:pt x="555" y="829"/>
                  </a:lnTo>
                  <a:lnTo>
                    <a:pt x="551" y="829"/>
                  </a:lnTo>
                  <a:lnTo>
                    <a:pt x="539" y="819"/>
                  </a:lnTo>
                  <a:lnTo>
                    <a:pt x="536" y="810"/>
                  </a:lnTo>
                  <a:lnTo>
                    <a:pt x="532" y="807"/>
                  </a:lnTo>
                  <a:lnTo>
                    <a:pt x="520" y="814"/>
                  </a:lnTo>
                  <a:lnTo>
                    <a:pt x="501" y="814"/>
                  </a:lnTo>
                  <a:lnTo>
                    <a:pt x="489" y="800"/>
                  </a:lnTo>
                  <a:lnTo>
                    <a:pt x="489" y="783"/>
                  </a:lnTo>
                  <a:lnTo>
                    <a:pt x="487" y="771"/>
                  </a:lnTo>
                  <a:lnTo>
                    <a:pt x="494" y="760"/>
                  </a:lnTo>
                  <a:lnTo>
                    <a:pt x="494" y="745"/>
                  </a:lnTo>
                  <a:lnTo>
                    <a:pt x="487" y="741"/>
                  </a:lnTo>
                  <a:lnTo>
                    <a:pt x="479" y="736"/>
                  </a:lnTo>
                  <a:lnTo>
                    <a:pt x="463" y="733"/>
                  </a:lnTo>
                  <a:lnTo>
                    <a:pt x="446" y="736"/>
                  </a:lnTo>
                  <a:lnTo>
                    <a:pt x="437" y="741"/>
                  </a:lnTo>
                  <a:lnTo>
                    <a:pt x="432" y="741"/>
                  </a:lnTo>
                  <a:lnTo>
                    <a:pt x="432" y="733"/>
                  </a:lnTo>
                  <a:lnTo>
                    <a:pt x="439" y="729"/>
                  </a:lnTo>
                  <a:lnTo>
                    <a:pt x="449" y="724"/>
                  </a:lnTo>
                  <a:lnTo>
                    <a:pt x="453" y="712"/>
                  </a:lnTo>
                  <a:lnTo>
                    <a:pt x="453" y="702"/>
                  </a:lnTo>
                  <a:lnTo>
                    <a:pt x="463" y="695"/>
                  </a:lnTo>
                  <a:lnTo>
                    <a:pt x="458" y="681"/>
                  </a:lnTo>
                  <a:lnTo>
                    <a:pt x="465" y="667"/>
                  </a:lnTo>
                  <a:lnTo>
                    <a:pt x="463" y="662"/>
                  </a:lnTo>
                  <a:lnTo>
                    <a:pt x="451" y="660"/>
                  </a:lnTo>
                  <a:lnTo>
                    <a:pt x="439" y="664"/>
                  </a:lnTo>
                  <a:lnTo>
                    <a:pt x="427" y="676"/>
                  </a:lnTo>
                  <a:lnTo>
                    <a:pt x="418" y="693"/>
                  </a:lnTo>
                  <a:lnTo>
                    <a:pt x="411" y="695"/>
                  </a:lnTo>
                  <a:lnTo>
                    <a:pt x="399" y="698"/>
                  </a:lnTo>
                  <a:lnTo>
                    <a:pt x="384" y="698"/>
                  </a:lnTo>
                  <a:lnTo>
                    <a:pt x="368" y="679"/>
                  </a:lnTo>
                  <a:lnTo>
                    <a:pt x="368" y="667"/>
                  </a:lnTo>
                  <a:lnTo>
                    <a:pt x="363" y="655"/>
                  </a:lnTo>
                  <a:lnTo>
                    <a:pt x="365" y="636"/>
                  </a:lnTo>
                  <a:lnTo>
                    <a:pt x="365" y="619"/>
                  </a:lnTo>
                  <a:lnTo>
                    <a:pt x="375" y="605"/>
                  </a:lnTo>
                  <a:lnTo>
                    <a:pt x="377" y="586"/>
                  </a:lnTo>
                  <a:lnTo>
                    <a:pt x="389" y="567"/>
                  </a:lnTo>
                  <a:lnTo>
                    <a:pt x="418" y="562"/>
                  </a:lnTo>
                  <a:lnTo>
                    <a:pt x="434" y="564"/>
                  </a:lnTo>
                  <a:lnTo>
                    <a:pt x="449" y="572"/>
                  </a:lnTo>
                  <a:lnTo>
                    <a:pt x="460" y="567"/>
                  </a:lnTo>
                  <a:lnTo>
                    <a:pt x="465" y="555"/>
                  </a:lnTo>
                  <a:lnTo>
                    <a:pt x="482" y="553"/>
                  </a:lnTo>
                  <a:lnTo>
                    <a:pt x="487" y="550"/>
                  </a:lnTo>
                  <a:lnTo>
                    <a:pt x="494" y="550"/>
                  </a:lnTo>
                  <a:lnTo>
                    <a:pt x="498" y="560"/>
                  </a:lnTo>
                  <a:lnTo>
                    <a:pt x="515" y="560"/>
                  </a:lnTo>
                  <a:lnTo>
                    <a:pt x="525" y="567"/>
                  </a:lnTo>
                  <a:lnTo>
                    <a:pt x="522" y="581"/>
                  </a:lnTo>
                  <a:lnTo>
                    <a:pt x="525" y="595"/>
                  </a:lnTo>
                  <a:lnTo>
                    <a:pt x="529" y="605"/>
                  </a:lnTo>
                  <a:lnTo>
                    <a:pt x="532" y="612"/>
                  </a:lnTo>
                  <a:lnTo>
                    <a:pt x="536" y="617"/>
                  </a:lnTo>
                  <a:lnTo>
                    <a:pt x="541" y="612"/>
                  </a:lnTo>
                  <a:lnTo>
                    <a:pt x="551" y="595"/>
                  </a:lnTo>
                  <a:lnTo>
                    <a:pt x="553" y="576"/>
                  </a:lnTo>
                  <a:lnTo>
                    <a:pt x="548" y="560"/>
                  </a:lnTo>
                  <a:lnTo>
                    <a:pt x="553" y="545"/>
                  </a:lnTo>
                  <a:lnTo>
                    <a:pt x="558" y="526"/>
                  </a:lnTo>
                  <a:lnTo>
                    <a:pt x="589" y="512"/>
                  </a:lnTo>
                  <a:lnTo>
                    <a:pt x="608" y="498"/>
                  </a:lnTo>
                  <a:lnTo>
                    <a:pt x="620" y="491"/>
                  </a:lnTo>
                  <a:lnTo>
                    <a:pt x="624" y="474"/>
                  </a:lnTo>
                  <a:lnTo>
                    <a:pt x="627" y="467"/>
                  </a:lnTo>
                  <a:lnTo>
                    <a:pt x="617" y="460"/>
                  </a:lnTo>
                  <a:lnTo>
                    <a:pt x="617" y="448"/>
                  </a:lnTo>
                  <a:lnTo>
                    <a:pt x="620" y="438"/>
                  </a:lnTo>
                  <a:lnTo>
                    <a:pt x="624" y="438"/>
                  </a:lnTo>
                  <a:lnTo>
                    <a:pt x="627" y="453"/>
                  </a:lnTo>
                  <a:lnTo>
                    <a:pt x="631" y="460"/>
                  </a:lnTo>
                  <a:lnTo>
                    <a:pt x="636" y="457"/>
                  </a:lnTo>
                  <a:lnTo>
                    <a:pt x="639" y="450"/>
                  </a:lnTo>
                  <a:lnTo>
                    <a:pt x="636" y="438"/>
                  </a:lnTo>
                  <a:lnTo>
                    <a:pt x="648" y="429"/>
                  </a:lnTo>
                  <a:lnTo>
                    <a:pt x="651" y="422"/>
                  </a:lnTo>
                  <a:lnTo>
                    <a:pt x="651" y="412"/>
                  </a:lnTo>
                  <a:lnTo>
                    <a:pt x="653" y="407"/>
                  </a:lnTo>
                  <a:lnTo>
                    <a:pt x="662" y="407"/>
                  </a:lnTo>
                  <a:lnTo>
                    <a:pt x="681" y="393"/>
                  </a:lnTo>
                  <a:lnTo>
                    <a:pt x="686" y="393"/>
                  </a:lnTo>
                  <a:lnTo>
                    <a:pt x="689" y="400"/>
                  </a:lnTo>
                  <a:lnTo>
                    <a:pt x="698" y="400"/>
                  </a:lnTo>
                  <a:lnTo>
                    <a:pt x="705" y="393"/>
                  </a:lnTo>
                  <a:lnTo>
                    <a:pt x="705" y="386"/>
                  </a:lnTo>
                  <a:lnTo>
                    <a:pt x="700" y="384"/>
                  </a:lnTo>
                  <a:lnTo>
                    <a:pt x="703" y="379"/>
                  </a:lnTo>
                  <a:lnTo>
                    <a:pt x="710" y="379"/>
                  </a:lnTo>
                  <a:lnTo>
                    <a:pt x="736" y="360"/>
                  </a:lnTo>
                  <a:lnTo>
                    <a:pt x="741" y="353"/>
                  </a:lnTo>
                  <a:lnTo>
                    <a:pt x="750" y="350"/>
                  </a:lnTo>
                  <a:lnTo>
                    <a:pt x="762" y="345"/>
                  </a:lnTo>
                  <a:lnTo>
                    <a:pt x="769" y="343"/>
                  </a:lnTo>
                  <a:lnTo>
                    <a:pt x="774" y="343"/>
                  </a:lnTo>
                  <a:lnTo>
                    <a:pt x="772" y="350"/>
                  </a:lnTo>
                  <a:lnTo>
                    <a:pt x="760" y="357"/>
                  </a:lnTo>
                  <a:lnTo>
                    <a:pt x="755" y="362"/>
                  </a:lnTo>
                  <a:lnTo>
                    <a:pt x="755" y="367"/>
                  </a:lnTo>
                  <a:lnTo>
                    <a:pt x="760" y="369"/>
                  </a:lnTo>
                  <a:lnTo>
                    <a:pt x="774" y="362"/>
                  </a:lnTo>
                  <a:lnTo>
                    <a:pt x="791" y="355"/>
                  </a:lnTo>
                  <a:lnTo>
                    <a:pt x="795" y="343"/>
                  </a:lnTo>
                  <a:lnTo>
                    <a:pt x="791" y="336"/>
                  </a:lnTo>
                  <a:lnTo>
                    <a:pt x="776" y="331"/>
                  </a:lnTo>
                  <a:lnTo>
                    <a:pt x="774" y="319"/>
                  </a:lnTo>
                  <a:lnTo>
                    <a:pt x="772" y="315"/>
                  </a:lnTo>
                  <a:lnTo>
                    <a:pt x="779" y="303"/>
                  </a:lnTo>
                  <a:lnTo>
                    <a:pt x="784" y="296"/>
                  </a:lnTo>
                  <a:lnTo>
                    <a:pt x="784" y="291"/>
                  </a:lnTo>
                  <a:lnTo>
                    <a:pt x="776" y="291"/>
                  </a:lnTo>
                  <a:lnTo>
                    <a:pt x="767" y="298"/>
                  </a:lnTo>
                  <a:lnTo>
                    <a:pt x="755" y="300"/>
                  </a:lnTo>
                  <a:lnTo>
                    <a:pt x="734" y="317"/>
                  </a:lnTo>
                  <a:lnTo>
                    <a:pt x="724" y="322"/>
                  </a:lnTo>
                  <a:lnTo>
                    <a:pt x="722" y="317"/>
                  </a:lnTo>
                  <a:lnTo>
                    <a:pt x="731" y="305"/>
                  </a:lnTo>
                  <a:lnTo>
                    <a:pt x="746" y="296"/>
                  </a:lnTo>
                  <a:lnTo>
                    <a:pt x="757" y="288"/>
                  </a:lnTo>
                  <a:lnTo>
                    <a:pt x="784" y="274"/>
                  </a:lnTo>
                  <a:lnTo>
                    <a:pt x="810" y="279"/>
                  </a:lnTo>
                  <a:lnTo>
                    <a:pt x="812" y="286"/>
                  </a:lnTo>
                  <a:lnTo>
                    <a:pt x="831" y="286"/>
                  </a:lnTo>
                  <a:lnTo>
                    <a:pt x="845" y="272"/>
                  </a:lnTo>
                  <a:lnTo>
                    <a:pt x="862" y="265"/>
                  </a:lnTo>
                  <a:lnTo>
                    <a:pt x="876" y="246"/>
                  </a:lnTo>
                  <a:lnTo>
                    <a:pt x="874" y="241"/>
                  </a:lnTo>
                  <a:lnTo>
                    <a:pt x="857" y="241"/>
                  </a:lnTo>
                  <a:lnTo>
                    <a:pt x="848" y="238"/>
                  </a:lnTo>
                  <a:lnTo>
                    <a:pt x="848" y="234"/>
                  </a:lnTo>
                  <a:lnTo>
                    <a:pt x="864" y="236"/>
                  </a:lnTo>
                  <a:lnTo>
                    <a:pt x="879" y="231"/>
                  </a:lnTo>
                  <a:lnTo>
                    <a:pt x="881" y="222"/>
                  </a:lnTo>
                  <a:lnTo>
                    <a:pt x="874" y="219"/>
                  </a:lnTo>
                  <a:lnTo>
                    <a:pt x="862" y="219"/>
                  </a:lnTo>
                  <a:lnTo>
                    <a:pt x="860" y="210"/>
                  </a:lnTo>
                  <a:lnTo>
                    <a:pt x="852" y="203"/>
                  </a:lnTo>
                  <a:lnTo>
                    <a:pt x="852" y="196"/>
                  </a:lnTo>
                  <a:lnTo>
                    <a:pt x="857" y="196"/>
                  </a:lnTo>
                  <a:lnTo>
                    <a:pt x="862" y="188"/>
                  </a:lnTo>
                  <a:lnTo>
                    <a:pt x="860" y="179"/>
                  </a:lnTo>
                  <a:lnTo>
                    <a:pt x="864" y="172"/>
                  </a:lnTo>
                  <a:lnTo>
                    <a:pt x="862" y="165"/>
                  </a:lnTo>
                  <a:lnTo>
                    <a:pt x="860" y="157"/>
                  </a:lnTo>
                  <a:lnTo>
                    <a:pt x="860" y="150"/>
                  </a:lnTo>
                  <a:lnTo>
                    <a:pt x="852" y="146"/>
                  </a:lnTo>
                  <a:lnTo>
                    <a:pt x="843" y="155"/>
                  </a:lnTo>
                  <a:lnTo>
                    <a:pt x="838" y="157"/>
                  </a:lnTo>
                  <a:lnTo>
                    <a:pt x="833" y="165"/>
                  </a:lnTo>
                  <a:lnTo>
                    <a:pt x="819" y="165"/>
                  </a:lnTo>
                  <a:lnTo>
                    <a:pt x="814" y="169"/>
                  </a:lnTo>
                  <a:lnTo>
                    <a:pt x="805" y="165"/>
                  </a:lnTo>
                  <a:lnTo>
                    <a:pt x="807" y="155"/>
                  </a:lnTo>
                  <a:lnTo>
                    <a:pt x="800" y="153"/>
                  </a:lnTo>
                  <a:lnTo>
                    <a:pt x="800" y="148"/>
                  </a:lnTo>
                  <a:lnTo>
                    <a:pt x="814" y="143"/>
                  </a:lnTo>
                  <a:lnTo>
                    <a:pt x="819" y="136"/>
                  </a:lnTo>
                  <a:lnTo>
                    <a:pt x="812" y="131"/>
                  </a:lnTo>
                  <a:lnTo>
                    <a:pt x="798" y="131"/>
                  </a:lnTo>
                  <a:lnTo>
                    <a:pt x="795" y="127"/>
                  </a:lnTo>
                  <a:lnTo>
                    <a:pt x="795" y="122"/>
                  </a:lnTo>
                  <a:lnTo>
                    <a:pt x="788" y="119"/>
                  </a:lnTo>
                  <a:lnTo>
                    <a:pt x="774" y="122"/>
                  </a:lnTo>
                  <a:lnTo>
                    <a:pt x="760" y="117"/>
                  </a:lnTo>
                  <a:lnTo>
                    <a:pt x="746" y="127"/>
                  </a:lnTo>
                  <a:lnTo>
                    <a:pt x="738" y="141"/>
                  </a:lnTo>
                  <a:lnTo>
                    <a:pt x="736" y="155"/>
                  </a:lnTo>
                  <a:lnTo>
                    <a:pt x="722" y="162"/>
                  </a:lnTo>
                  <a:lnTo>
                    <a:pt x="717" y="172"/>
                  </a:lnTo>
                  <a:lnTo>
                    <a:pt x="722" y="177"/>
                  </a:lnTo>
                  <a:lnTo>
                    <a:pt x="727" y="181"/>
                  </a:lnTo>
                  <a:lnTo>
                    <a:pt x="727" y="188"/>
                  </a:lnTo>
                  <a:lnTo>
                    <a:pt x="717" y="196"/>
                  </a:lnTo>
                  <a:lnTo>
                    <a:pt x="693" y="210"/>
                  </a:lnTo>
                  <a:lnTo>
                    <a:pt x="681" y="224"/>
                  </a:lnTo>
                  <a:lnTo>
                    <a:pt x="674" y="241"/>
                  </a:lnTo>
                  <a:lnTo>
                    <a:pt x="674" y="255"/>
                  </a:lnTo>
                  <a:lnTo>
                    <a:pt x="667" y="262"/>
                  </a:lnTo>
                  <a:lnTo>
                    <a:pt x="653" y="265"/>
                  </a:lnTo>
                  <a:lnTo>
                    <a:pt x="648" y="262"/>
                  </a:lnTo>
                  <a:lnTo>
                    <a:pt x="648" y="255"/>
                  </a:lnTo>
                  <a:lnTo>
                    <a:pt x="643" y="250"/>
                  </a:lnTo>
                  <a:lnTo>
                    <a:pt x="646" y="238"/>
                  </a:lnTo>
                  <a:lnTo>
                    <a:pt x="646" y="231"/>
                  </a:lnTo>
                  <a:lnTo>
                    <a:pt x="653" y="222"/>
                  </a:lnTo>
                  <a:lnTo>
                    <a:pt x="653" y="210"/>
                  </a:lnTo>
                  <a:lnTo>
                    <a:pt x="648" y="207"/>
                  </a:lnTo>
                  <a:lnTo>
                    <a:pt x="634" y="205"/>
                  </a:lnTo>
                  <a:lnTo>
                    <a:pt x="627" y="196"/>
                  </a:lnTo>
                  <a:lnTo>
                    <a:pt x="617" y="186"/>
                  </a:lnTo>
                  <a:lnTo>
                    <a:pt x="603" y="186"/>
                  </a:lnTo>
                  <a:lnTo>
                    <a:pt x="593" y="181"/>
                  </a:lnTo>
                  <a:lnTo>
                    <a:pt x="593" y="174"/>
                  </a:lnTo>
                  <a:lnTo>
                    <a:pt x="596" y="167"/>
                  </a:lnTo>
                  <a:lnTo>
                    <a:pt x="593" y="160"/>
                  </a:lnTo>
                  <a:lnTo>
                    <a:pt x="591" y="150"/>
                  </a:lnTo>
                  <a:lnTo>
                    <a:pt x="601" y="136"/>
                  </a:lnTo>
                  <a:lnTo>
                    <a:pt x="615" y="122"/>
                  </a:lnTo>
                  <a:lnTo>
                    <a:pt x="634" y="117"/>
                  </a:lnTo>
                  <a:lnTo>
                    <a:pt x="643" y="115"/>
                  </a:lnTo>
                  <a:lnTo>
                    <a:pt x="648" y="112"/>
                  </a:lnTo>
                  <a:lnTo>
                    <a:pt x="641" y="105"/>
                  </a:lnTo>
                  <a:lnTo>
                    <a:pt x="646" y="100"/>
                  </a:lnTo>
                  <a:lnTo>
                    <a:pt x="658" y="103"/>
                  </a:lnTo>
                  <a:lnTo>
                    <a:pt x="686" y="96"/>
                  </a:lnTo>
                  <a:lnTo>
                    <a:pt x="696" y="88"/>
                  </a:lnTo>
                  <a:lnTo>
                    <a:pt x="712" y="84"/>
                  </a:lnTo>
                  <a:lnTo>
                    <a:pt x="722" y="72"/>
                  </a:lnTo>
                  <a:lnTo>
                    <a:pt x="734" y="77"/>
                  </a:lnTo>
                  <a:lnTo>
                    <a:pt x="741" y="72"/>
                  </a:lnTo>
                  <a:lnTo>
                    <a:pt x="757" y="72"/>
                  </a:lnTo>
                  <a:lnTo>
                    <a:pt x="769" y="62"/>
                  </a:lnTo>
                  <a:lnTo>
                    <a:pt x="779" y="46"/>
                  </a:lnTo>
                  <a:lnTo>
                    <a:pt x="786" y="43"/>
                  </a:lnTo>
                  <a:lnTo>
                    <a:pt x="788" y="34"/>
                  </a:lnTo>
                  <a:lnTo>
                    <a:pt x="781" y="34"/>
                  </a:lnTo>
                  <a:lnTo>
                    <a:pt x="779" y="29"/>
                  </a:lnTo>
                  <a:lnTo>
                    <a:pt x="769" y="31"/>
                  </a:lnTo>
                  <a:lnTo>
                    <a:pt x="760" y="34"/>
                  </a:lnTo>
                  <a:lnTo>
                    <a:pt x="753" y="41"/>
                  </a:lnTo>
                  <a:lnTo>
                    <a:pt x="746" y="46"/>
                  </a:lnTo>
                  <a:lnTo>
                    <a:pt x="738" y="55"/>
                  </a:lnTo>
                  <a:lnTo>
                    <a:pt x="731" y="60"/>
                  </a:lnTo>
                  <a:lnTo>
                    <a:pt x="724" y="55"/>
                  </a:lnTo>
                  <a:lnTo>
                    <a:pt x="731" y="46"/>
                  </a:lnTo>
                  <a:lnTo>
                    <a:pt x="734" y="38"/>
                  </a:lnTo>
                  <a:lnTo>
                    <a:pt x="724" y="38"/>
                  </a:lnTo>
                  <a:lnTo>
                    <a:pt x="717" y="41"/>
                  </a:lnTo>
                  <a:lnTo>
                    <a:pt x="712" y="31"/>
                  </a:lnTo>
                  <a:lnTo>
                    <a:pt x="722" y="27"/>
                  </a:lnTo>
                  <a:lnTo>
                    <a:pt x="727" y="15"/>
                  </a:lnTo>
                  <a:lnTo>
                    <a:pt x="727" y="0"/>
                  </a:lnTo>
                  <a:lnTo>
                    <a:pt x="710" y="8"/>
                  </a:lnTo>
                  <a:lnTo>
                    <a:pt x="698" y="10"/>
                  </a:lnTo>
                  <a:lnTo>
                    <a:pt x="691" y="19"/>
                  </a:lnTo>
                  <a:lnTo>
                    <a:pt x="691" y="27"/>
                  </a:lnTo>
                  <a:lnTo>
                    <a:pt x="686" y="34"/>
                  </a:lnTo>
                  <a:lnTo>
                    <a:pt x="686" y="43"/>
                  </a:lnTo>
                  <a:lnTo>
                    <a:pt x="665" y="48"/>
                  </a:lnTo>
                  <a:lnTo>
                    <a:pt x="658" y="53"/>
                  </a:lnTo>
                  <a:lnTo>
                    <a:pt x="648" y="62"/>
                  </a:lnTo>
                  <a:lnTo>
                    <a:pt x="639" y="58"/>
                  </a:lnTo>
                  <a:lnTo>
                    <a:pt x="612" y="50"/>
                  </a:lnTo>
                  <a:lnTo>
                    <a:pt x="601" y="41"/>
                  </a:lnTo>
                  <a:lnTo>
                    <a:pt x="591" y="41"/>
                  </a:lnTo>
                  <a:lnTo>
                    <a:pt x="572" y="46"/>
                  </a:lnTo>
                  <a:lnTo>
                    <a:pt x="565" y="53"/>
                  </a:lnTo>
                  <a:lnTo>
                    <a:pt x="563" y="65"/>
                  </a:lnTo>
                  <a:lnTo>
                    <a:pt x="551" y="74"/>
                  </a:lnTo>
                  <a:lnTo>
                    <a:pt x="546" y="69"/>
                  </a:lnTo>
                  <a:lnTo>
                    <a:pt x="548" y="60"/>
                  </a:lnTo>
                  <a:lnTo>
                    <a:pt x="551" y="55"/>
                  </a:lnTo>
                  <a:lnTo>
                    <a:pt x="541" y="50"/>
                  </a:lnTo>
                  <a:lnTo>
                    <a:pt x="532" y="50"/>
                  </a:lnTo>
                  <a:lnTo>
                    <a:pt x="510" y="48"/>
                  </a:lnTo>
                  <a:lnTo>
                    <a:pt x="510" y="46"/>
                  </a:lnTo>
                  <a:lnTo>
                    <a:pt x="520" y="41"/>
                  </a:lnTo>
                  <a:lnTo>
                    <a:pt x="522" y="34"/>
                  </a:lnTo>
                  <a:lnTo>
                    <a:pt x="510" y="34"/>
                  </a:lnTo>
                  <a:lnTo>
                    <a:pt x="491" y="27"/>
                  </a:lnTo>
                  <a:lnTo>
                    <a:pt x="482" y="24"/>
                  </a:lnTo>
                  <a:lnTo>
                    <a:pt x="468" y="27"/>
                  </a:lnTo>
                  <a:lnTo>
                    <a:pt x="463" y="27"/>
                  </a:lnTo>
                  <a:lnTo>
                    <a:pt x="460" y="19"/>
                  </a:lnTo>
                  <a:lnTo>
                    <a:pt x="451" y="15"/>
                  </a:lnTo>
                  <a:lnTo>
                    <a:pt x="430" y="19"/>
                  </a:lnTo>
                  <a:lnTo>
                    <a:pt x="413" y="29"/>
                  </a:lnTo>
                  <a:lnTo>
                    <a:pt x="408" y="29"/>
                  </a:lnTo>
                  <a:lnTo>
                    <a:pt x="401" y="24"/>
                  </a:lnTo>
                  <a:lnTo>
                    <a:pt x="377" y="27"/>
                  </a:lnTo>
                  <a:lnTo>
                    <a:pt x="375" y="34"/>
                  </a:lnTo>
                  <a:lnTo>
                    <a:pt x="370" y="36"/>
                  </a:lnTo>
                  <a:lnTo>
                    <a:pt x="363" y="34"/>
                  </a:lnTo>
                  <a:lnTo>
                    <a:pt x="363" y="27"/>
                  </a:lnTo>
                  <a:lnTo>
                    <a:pt x="356" y="22"/>
                  </a:lnTo>
                  <a:lnTo>
                    <a:pt x="344" y="22"/>
                  </a:lnTo>
                  <a:lnTo>
                    <a:pt x="335" y="19"/>
                  </a:lnTo>
                  <a:lnTo>
                    <a:pt x="330" y="15"/>
                  </a:lnTo>
                  <a:lnTo>
                    <a:pt x="323" y="17"/>
                  </a:lnTo>
                  <a:lnTo>
                    <a:pt x="313" y="17"/>
                  </a:lnTo>
                  <a:lnTo>
                    <a:pt x="308" y="12"/>
                  </a:lnTo>
                  <a:lnTo>
                    <a:pt x="299" y="12"/>
                  </a:lnTo>
                  <a:lnTo>
                    <a:pt x="297" y="15"/>
                  </a:lnTo>
                  <a:lnTo>
                    <a:pt x="289" y="12"/>
                  </a:lnTo>
                  <a:lnTo>
                    <a:pt x="289" y="5"/>
                  </a:lnTo>
                  <a:lnTo>
                    <a:pt x="2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0296;p275">
              <a:extLst>
                <a:ext uri="{FF2B5EF4-FFF2-40B4-BE49-F238E27FC236}">
                  <a16:creationId xmlns:a16="http://schemas.microsoft.com/office/drawing/2014/main" id="{AD22B082-4084-1B33-3F0C-B1DA179563AC}"/>
                </a:ext>
              </a:extLst>
            </p:cNvPr>
            <p:cNvSpPr/>
            <p:nvPr/>
          </p:nvSpPr>
          <p:spPr>
            <a:xfrm>
              <a:off x="2404843" y="1963138"/>
              <a:ext cx="2392590" cy="3910414"/>
            </a:xfrm>
            <a:custGeom>
              <a:avLst/>
              <a:gdLst/>
              <a:ahLst/>
              <a:cxnLst/>
              <a:rect l="l" t="t" r="r" b="b"/>
              <a:pathLst>
                <a:path w="1012" h="1654" extrusionOk="0">
                  <a:moveTo>
                    <a:pt x="582" y="405"/>
                  </a:moveTo>
                  <a:lnTo>
                    <a:pt x="574" y="403"/>
                  </a:lnTo>
                  <a:lnTo>
                    <a:pt x="572" y="398"/>
                  </a:lnTo>
                  <a:lnTo>
                    <a:pt x="579" y="391"/>
                  </a:lnTo>
                  <a:lnTo>
                    <a:pt x="593" y="388"/>
                  </a:lnTo>
                  <a:lnTo>
                    <a:pt x="603" y="388"/>
                  </a:lnTo>
                  <a:lnTo>
                    <a:pt x="615" y="386"/>
                  </a:lnTo>
                  <a:lnTo>
                    <a:pt x="615" y="391"/>
                  </a:lnTo>
                  <a:lnTo>
                    <a:pt x="605" y="398"/>
                  </a:lnTo>
                  <a:lnTo>
                    <a:pt x="593" y="403"/>
                  </a:lnTo>
                  <a:lnTo>
                    <a:pt x="582" y="405"/>
                  </a:lnTo>
                  <a:moveTo>
                    <a:pt x="631" y="381"/>
                  </a:moveTo>
                  <a:lnTo>
                    <a:pt x="617" y="379"/>
                  </a:lnTo>
                  <a:lnTo>
                    <a:pt x="617" y="374"/>
                  </a:lnTo>
                  <a:lnTo>
                    <a:pt x="627" y="372"/>
                  </a:lnTo>
                  <a:lnTo>
                    <a:pt x="634" y="367"/>
                  </a:lnTo>
                  <a:lnTo>
                    <a:pt x="641" y="367"/>
                  </a:lnTo>
                  <a:lnTo>
                    <a:pt x="641" y="369"/>
                  </a:lnTo>
                  <a:lnTo>
                    <a:pt x="641" y="376"/>
                  </a:lnTo>
                  <a:lnTo>
                    <a:pt x="631" y="381"/>
                  </a:lnTo>
                  <a:moveTo>
                    <a:pt x="536" y="331"/>
                  </a:moveTo>
                  <a:lnTo>
                    <a:pt x="527" y="329"/>
                  </a:lnTo>
                  <a:lnTo>
                    <a:pt x="527" y="319"/>
                  </a:lnTo>
                  <a:lnTo>
                    <a:pt x="536" y="312"/>
                  </a:lnTo>
                  <a:lnTo>
                    <a:pt x="544" y="305"/>
                  </a:lnTo>
                  <a:lnTo>
                    <a:pt x="555" y="305"/>
                  </a:lnTo>
                  <a:lnTo>
                    <a:pt x="560" y="298"/>
                  </a:lnTo>
                  <a:lnTo>
                    <a:pt x="572" y="296"/>
                  </a:lnTo>
                  <a:lnTo>
                    <a:pt x="577" y="305"/>
                  </a:lnTo>
                  <a:lnTo>
                    <a:pt x="582" y="310"/>
                  </a:lnTo>
                  <a:lnTo>
                    <a:pt x="589" y="317"/>
                  </a:lnTo>
                  <a:lnTo>
                    <a:pt x="586" y="326"/>
                  </a:lnTo>
                  <a:lnTo>
                    <a:pt x="591" y="331"/>
                  </a:lnTo>
                  <a:lnTo>
                    <a:pt x="605" y="334"/>
                  </a:lnTo>
                  <a:lnTo>
                    <a:pt x="615" y="348"/>
                  </a:lnTo>
                  <a:lnTo>
                    <a:pt x="615" y="362"/>
                  </a:lnTo>
                  <a:lnTo>
                    <a:pt x="608" y="365"/>
                  </a:lnTo>
                  <a:lnTo>
                    <a:pt x="601" y="360"/>
                  </a:lnTo>
                  <a:lnTo>
                    <a:pt x="598" y="369"/>
                  </a:lnTo>
                  <a:lnTo>
                    <a:pt x="593" y="376"/>
                  </a:lnTo>
                  <a:lnTo>
                    <a:pt x="582" y="384"/>
                  </a:lnTo>
                  <a:lnTo>
                    <a:pt x="574" y="379"/>
                  </a:lnTo>
                  <a:lnTo>
                    <a:pt x="577" y="367"/>
                  </a:lnTo>
                  <a:lnTo>
                    <a:pt x="584" y="362"/>
                  </a:lnTo>
                  <a:lnTo>
                    <a:pt x="586" y="353"/>
                  </a:lnTo>
                  <a:lnTo>
                    <a:pt x="582" y="350"/>
                  </a:lnTo>
                  <a:lnTo>
                    <a:pt x="572" y="353"/>
                  </a:lnTo>
                  <a:lnTo>
                    <a:pt x="560" y="355"/>
                  </a:lnTo>
                  <a:lnTo>
                    <a:pt x="555" y="360"/>
                  </a:lnTo>
                  <a:lnTo>
                    <a:pt x="546" y="374"/>
                  </a:lnTo>
                  <a:lnTo>
                    <a:pt x="544" y="388"/>
                  </a:lnTo>
                  <a:lnTo>
                    <a:pt x="534" y="391"/>
                  </a:lnTo>
                  <a:lnTo>
                    <a:pt x="529" y="386"/>
                  </a:lnTo>
                  <a:lnTo>
                    <a:pt x="532" y="372"/>
                  </a:lnTo>
                  <a:lnTo>
                    <a:pt x="544" y="357"/>
                  </a:lnTo>
                  <a:lnTo>
                    <a:pt x="546" y="345"/>
                  </a:lnTo>
                  <a:lnTo>
                    <a:pt x="558" y="338"/>
                  </a:lnTo>
                  <a:lnTo>
                    <a:pt x="572" y="338"/>
                  </a:lnTo>
                  <a:lnTo>
                    <a:pt x="577" y="336"/>
                  </a:lnTo>
                  <a:lnTo>
                    <a:pt x="572" y="334"/>
                  </a:lnTo>
                  <a:lnTo>
                    <a:pt x="558" y="331"/>
                  </a:lnTo>
                  <a:lnTo>
                    <a:pt x="548" y="326"/>
                  </a:lnTo>
                  <a:lnTo>
                    <a:pt x="536" y="331"/>
                  </a:lnTo>
                  <a:moveTo>
                    <a:pt x="494" y="274"/>
                  </a:moveTo>
                  <a:lnTo>
                    <a:pt x="489" y="267"/>
                  </a:lnTo>
                  <a:lnTo>
                    <a:pt x="489" y="255"/>
                  </a:lnTo>
                  <a:lnTo>
                    <a:pt x="489" y="243"/>
                  </a:lnTo>
                  <a:lnTo>
                    <a:pt x="491" y="234"/>
                  </a:lnTo>
                  <a:lnTo>
                    <a:pt x="501" y="226"/>
                  </a:lnTo>
                  <a:lnTo>
                    <a:pt x="506" y="229"/>
                  </a:lnTo>
                  <a:lnTo>
                    <a:pt x="508" y="248"/>
                  </a:lnTo>
                  <a:lnTo>
                    <a:pt x="508" y="262"/>
                  </a:lnTo>
                  <a:lnTo>
                    <a:pt x="501" y="274"/>
                  </a:lnTo>
                  <a:lnTo>
                    <a:pt x="494" y="274"/>
                  </a:lnTo>
                  <a:moveTo>
                    <a:pt x="430" y="141"/>
                  </a:moveTo>
                  <a:lnTo>
                    <a:pt x="420" y="138"/>
                  </a:lnTo>
                  <a:lnTo>
                    <a:pt x="411" y="136"/>
                  </a:lnTo>
                  <a:lnTo>
                    <a:pt x="408" y="129"/>
                  </a:lnTo>
                  <a:lnTo>
                    <a:pt x="413" y="127"/>
                  </a:lnTo>
                  <a:lnTo>
                    <a:pt x="425" y="127"/>
                  </a:lnTo>
                  <a:lnTo>
                    <a:pt x="437" y="117"/>
                  </a:lnTo>
                  <a:lnTo>
                    <a:pt x="441" y="108"/>
                  </a:lnTo>
                  <a:lnTo>
                    <a:pt x="449" y="100"/>
                  </a:lnTo>
                  <a:lnTo>
                    <a:pt x="456" y="100"/>
                  </a:lnTo>
                  <a:lnTo>
                    <a:pt x="460" y="103"/>
                  </a:lnTo>
                  <a:lnTo>
                    <a:pt x="458" y="110"/>
                  </a:lnTo>
                  <a:lnTo>
                    <a:pt x="451" y="119"/>
                  </a:lnTo>
                  <a:lnTo>
                    <a:pt x="458" y="122"/>
                  </a:lnTo>
                  <a:lnTo>
                    <a:pt x="468" y="117"/>
                  </a:lnTo>
                  <a:lnTo>
                    <a:pt x="477" y="110"/>
                  </a:lnTo>
                  <a:lnTo>
                    <a:pt x="491" y="112"/>
                  </a:lnTo>
                  <a:lnTo>
                    <a:pt x="498" y="122"/>
                  </a:lnTo>
                  <a:lnTo>
                    <a:pt x="494" y="124"/>
                  </a:lnTo>
                  <a:lnTo>
                    <a:pt x="489" y="124"/>
                  </a:lnTo>
                  <a:lnTo>
                    <a:pt x="475" y="127"/>
                  </a:lnTo>
                  <a:lnTo>
                    <a:pt x="465" y="134"/>
                  </a:lnTo>
                  <a:lnTo>
                    <a:pt x="458" y="136"/>
                  </a:lnTo>
                  <a:lnTo>
                    <a:pt x="449" y="136"/>
                  </a:lnTo>
                  <a:lnTo>
                    <a:pt x="439" y="141"/>
                  </a:lnTo>
                  <a:lnTo>
                    <a:pt x="430" y="141"/>
                  </a:lnTo>
                  <a:moveTo>
                    <a:pt x="439" y="62"/>
                  </a:moveTo>
                  <a:lnTo>
                    <a:pt x="451" y="60"/>
                  </a:lnTo>
                  <a:lnTo>
                    <a:pt x="458" y="62"/>
                  </a:lnTo>
                  <a:lnTo>
                    <a:pt x="465" y="69"/>
                  </a:lnTo>
                  <a:lnTo>
                    <a:pt x="456" y="79"/>
                  </a:lnTo>
                  <a:lnTo>
                    <a:pt x="441" y="79"/>
                  </a:lnTo>
                  <a:lnTo>
                    <a:pt x="432" y="91"/>
                  </a:lnTo>
                  <a:lnTo>
                    <a:pt x="422" y="91"/>
                  </a:lnTo>
                  <a:lnTo>
                    <a:pt x="425" y="84"/>
                  </a:lnTo>
                  <a:lnTo>
                    <a:pt x="415" y="81"/>
                  </a:lnTo>
                  <a:lnTo>
                    <a:pt x="415" y="74"/>
                  </a:lnTo>
                  <a:lnTo>
                    <a:pt x="406" y="69"/>
                  </a:lnTo>
                  <a:lnTo>
                    <a:pt x="411" y="62"/>
                  </a:lnTo>
                  <a:lnTo>
                    <a:pt x="425" y="62"/>
                  </a:lnTo>
                  <a:lnTo>
                    <a:pt x="439" y="62"/>
                  </a:lnTo>
                  <a:moveTo>
                    <a:pt x="280" y="0"/>
                  </a:moveTo>
                  <a:lnTo>
                    <a:pt x="268" y="5"/>
                  </a:lnTo>
                  <a:lnTo>
                    <a:pt x="259" y="5"/>
                  </a:lnTo>
                  <a:lnTo>
                    <a:pt x="249" y="5"/>
                  </a:lnTo>
                  <a:lnTo>
                    <a:pt x="237" y="10"/>
                  </a:lnTo>
                  <a:lnTo>
                    <a:pt x="230" y="10"/>
                  </a:lnTo>
                  <a:lnTo>
                    <a:pt x="218" y="17"/>
                  </a:lnTo>
                  <a:lnTo>
                    <a:pt x="206" y="17"/>
                  </a:lnTo>
                  <a:lnTo>
                    <a:pt x="192" y="22"/>
                  </a:lnTo>
                  <a:lnTo>
                    <a:pt x="183" y="27"/>
                  </a:lnTo>
                  <a:lnTo>
                    <a:pt x="175" y="46"/>
                  </a:lnTo>
                  <a:lnTo>
                    <a:pt x="171" y="55"/>
                  </a:lnTo>
                  <a:lnTo>
                    <a:pt x="164" y="46"/>
                  </a:lnTo>
                  <a:lnTo>
                    <a:pt x="140" y="50"/>
                  </a:lnTo>
                  <a:lnTo>
                    <a:pt x="128" y="55"/>
                  </a:lnTo>
                  <a:lnTo>
                    <a:pt x="121" y="67"/>
                  </a:lnTo>
                  <a:lnTo>
                    <a:pt x="133" y="72"/>
                  </a:lnTo>
                  <a:lnTo>
                    <a:pt x="152" y="69"/>
                  </a:lnTo>
                  <a:lnTo>
                    <a:pt x="142" y="79"/>
                  </a:lnTo>
                  <a:lnTo>
                    <a:pt x="130" y="84"/>
                  </a:lnTo>
                  <a:lnTo>
                    <a:pt x="121" y="77"/>
                  </a:lnTo>
                  <a:lnTo>
                    <a:pt x="111" y="79"/>
                  </a:lnTo>
                  <a:lnTo>
                    <a:pt x="78" y="93"/>
                  </a:lnTo>
                  <a:lnTo>
                    <a:pt x="59" y="115"/>
                  </a:lnTo>
                  <a:lnTo>
                    <a:pt x="47" y="119"/>
                  </a:lnTo>
                  <a:lnTo>
                    <a:pt x="45" y="129"/>
                  </a:lnTo>
                  <a:lnTo>
                    <a:pt x="57" y="131"/>
                  </a:lnTo>
                  <a:lnTo>
                    <a:pt x="47" y="141"/>
                  </a:lnTo>
                  <a:lnTo>
                    <a:pt x="54" y="146"/>
                  </a:lnTo>
                  <a:lnTo>
                    <a:pt x="76" y="148"/>
                  </a:lnTo>
                  <a:lnTo>
                    <a:pt x="59" y="160"/>
                  </a:lnTo>
                  <a:lnTo>
                    <a:pt x="35" y="172"/>
                  </a:lnTo>
                  <a:lnTo>
                    <a:pt x="9" y="177"/>
                  </a:lnTo>
                  <a:lnTo>
                    <a:pt x="0" y="184"/>
                  </a:lnTo>
                  <a:lnTo>
                    <a:pt x="2" y="191"/>
                  </a:lnTo>
                  <a:lnTo>
                    <a:pt x="45" y="177"/>
                  </a:lnTo>
                  <a:lnTo>
                    <a:pt x="76" y="162"/>
                  </a:lnTo>
                  <a:lnTo>
                    <a:pt x="109" y="148"/>
                  </a:lnTo>
                  <a:lnTo>
                    <a:pt x="133" y="131"/>
                  </a:lnTo>
                  <a:lnTo>
                    <a:pt x="149" y="119"/>
                  </a:lnTo>
                  <a:lnTo>
                    <a:pt x="156" y="117"/>
                  </a:lnTo>
                  <a:lnTo>
                    <a:pt x="159" y="122"/>
                  </a:lnTo>
                  <a:lnTo>
                    <a:pt x="137" y="138"/>
                  </a:lnTo>
                  <a:lnTo>
                    <a:pt x="123" y="146"/>
                  </a:lnTo>
                  <a:lnTo>
                    <a:pt x="118" y="153"/>
                  </a:lnTo>
                  <a:lnTo>
                    <a:pt x="121" y="157"/>
                  </a:lnTo>
                  <a:lnTo>
                    <a:pt x="128" y="157"/>
                  </a:lnTo>
                  <a:lnTo>
                    <a:pt x="135" y="150"/>
                  </a:lnTo>
                  <a:lnTo>
                    <a:pt x="147" y="143"/>
                  </a:lnTo>
                  <a:lnTo>
                    <a:pt x="161" y="134"/>
                  </a:lnTo>
                  <a:lnTo>
                    <a:pt x="168" y="127"/>
                  </a:lnTo>
                  <a:lnTo>
                    <a:pt x="178" y="119"/>
                  </a:lnTo>
                  <a:lnTo>
                    <a:pt x="183" y="122"/>
                  </a:lnTo>
                  <a:lnTo>
                    <a:pt x="183" y="129"/>
                  </a:lnTo>
                  <a:lnTo>
                    <a:pt x="175" y="136"/>
                  </a:lnTo>
                  <a:lnTo>
                    <a:pt x="178" y="143"/>
                  </a:lnTo>
                  <a:lnTo>
                    <a:pt x="190" y="143"/>
                  </a:lnTo>
                  <a:lnTo>
                    <a:pt x="202" y="141"/>
                  </a:lnTo>
                  <a:lnTo>
                    <a:pt x="209" y="143"/>
                  </a:lnTo>
                  <a:lnTo>
                    <a:pt x="211" y="150"/>
                  </a:lnTo>
                  <a:lnTo>
                    <a:pt x="211" y="160"/>
                  </a:lnTo>
                  <a:lnTo>
                    <a:pt x="213" y="165"/>
                  </a:lnTo>
                  <a:lnTo>
                    <a:pt x="211" y="172"/>
                  </a:lnTo>
                  <a:lnTo>
                    <a:pt x="218" y="172"/>
                  </a:lnTo>
                  <a:lnTo>
                    <a:pt x="223" y="162"/>
                  </a:lnTo>
                  <a:lnTo>
                    <a:pt x="228" y="155"/>
                  </a:lnTo>
                  <a:lnTo>
                    <a:pt x="232" y="157"/>
                  </a:lnTo>
                  <a:lnTo>
                    <a:pt x="235" y="172"/>
                  </a:lnTo>
                  <a:lnTo>
                    <a:pt x="225" y="181"/>
                  </a:lnTo>
                  <a:lnTo>
                    <a:pt x="225" y="191"/>
                  </a:lnTo>
                  <a:lnTo>
                    <a:pt x="225" y="203"/>
                  </a:lnTo>
                  <a:lnTo>
                    <a:pt x="230" y="210"/>
                  </a:lnTo>
                  <a:lnTo>
                    <a:pt x="223" y="217"/>
                  </a:lnTo>
                  <a:lnTo>
                    <a:pt x="221" y="222"/>
                  </a:lnTo>
                  <a:lnTo>
                    <a:pt x="223" y="231"/>
                  </a:lnTo>
                  <a:lnTo>
                    <a:pt x="223" y="241"/>
                  </a:lnTo>
                  <a:lnTo>
                    <a:pt x="228" y="255"/>
                  </a:lnTo>
                  <a:lnTo>
                    <a:pt x="225" y="260"/>
                  </a:lnTo>
                  <a:lnTo>
                    <a:pt x="225" y="269"/>
                  </a:lnTo>
                  <a:lnTo>
                    <a:pt x="232" y="281"/>
                  </a:lnTo>
                  <a:lnTo>
                    <a:pt x="235" y="298"/>
                  </a:lnTo>
                  <a:lnTo>
                    <a:pt x="232" y="312"/>
                  </a:lnTo>
                  <a:lnTo>
                    <a:pt x="228" y="324"/>
                  </a:lnTo>
                  <a:lnTo>
                    <a:pt x="223" y="324"/>
                  </a:lnTo>
                  <a:lnTo>
                    <a:pt x="218" y="310"/>
                  </a:lnTo>
                  <a:lnTo>
                    <a:pt x="211" y="307"/>
                  </a:lnTo>
                  <a:lnTo>
                    <a:pt x="206" y="310"/>
                  </a:lnTo>
                  <a:lnTo>
                    <a:pt x="209" y="322"/>
                  </a:lnTo>
                  <a:lnTo>
                    <a:pt x="204" y="338"/>
                  </a:lnTo>
                  <a:lnTo>
                    <a:pt x="197" y="343"/>
                  </a:lnTo>
                  <a:lnTo>
                    <a:pt x="192" y="355"/>
                  </a:lnTo>
                  <a:lnTo>
                    <a:pt x="185" y="365"/>
                  </a:lnTo>
                  <a:lnTo>
                    <a:pt x="178" y="379"/>
                  </a:lnTo>
                  <a:lnTo>
                    <a:pt x="173" y="391"/>
                  </a:lnTo>
                  <a:lnTo>
                    <a:pt x="168" y="398"/>
                  </a:lnTo>
                  <a:lnTo>
                    <a:pt x="164" y="407"/>
                  </a:lnTo>
                  <a:lnTo>
                    <a:pt x="164" y="414"/>
                  </a:lnTo>
                  <a:lnTo>
                    <a:pt x="161" y="424"/>
                  </a:lnTo>
                  <a:lnTo>
                    <a:pt x="161" y="438"/>
                  </a:lnTo>
                  <a:lnTo>
                    <a:pt x="168" y="448"/>
                  </a:lnTo>
                  <a:lnTo>
                    <a:pt x="171" y="457"/>
                  </a:lnTo>
                  <a:lnTo>
                    <a:pt x="171" y="474"/>
                  </a:lnTo>
                  <a:lnTo>
                    <a:pt x="185" y="493"/>
                  </a:lnTo>
                  <a:lnTo>
                    <a:pt x="192" y="500"/>
                  </a:lnTo>
                  <a:lnTo>
                    <a:pt x="194" y="510"/>
                  </a:lnTo>
                  <a:lnTo>
                    <a:pt x="194" y="522"/>
                  </a:lnTo>
                  <a:lnTo>
                    <a:pt x="194" y="533"/>
                  </a:lnTo>
                  <a:lnTo>
                    <a:pt x="199" y="543"/>
                  </a:lnTo>
                  <a:lnTo>
                    <a:pt x="209" y="550"/>
                  </a:lnTo>
                  <a:lnTo>
                    <a:pt x="213" y="557"/>
                  </a:lnTo>
                  <a:lnTo>
                    <a:pt x="213" y="564"/>
                  </a:lnTo>
                  <a:lnTo>
                    <a:pt x="204" y="569"/>
                  </a:lnTo>
                  <a:lnTo>
                    <a:pt x="204" y="576"/>
                  </a:lnTo>
                  <a:lnTo>
                    <a:pt x="209" y="586"/>
                  </a:lnTo>
                  <a:lnTo>
                    <a:pt x="216" y="588"/>
                  </a:lnTo>
                  <a:lnTo>
                    <a:pt x="223" y="600"/>
                  </a:lnTo>
                  <a:lnTo>
                    <a:pt x="223" y="605"/>
                  </a:lnTo>
                  <a:lnTo>
                    <a:pt x="223" y="617"/>
                  </a:lnTo>
                  <a:lnTo>
                    <a:pt x="228" y="626"/>
                  </a:lnTo>
                  <a:lnTo>
                    <a:pt x="235" y="631"/>
                  </a:lnTo>
                  <a:lnTo>
                    <a:pt x="242" y="633"/>
                  </a:lnTo>
                  <a:lnTo>
                    <a:pt x="247" y="631"/>
                  </a:lnTo>
                  <a:lnTo>
                    <a:pt x="242" y="614"/>
                  </a:lnTo>
                  <a:lnTo>
                    <a:pt x="235" y="602"/>
                  </a:lnTo>
                  <a:lnTo>
                    <a:pt x="232" y="588"/>
                  </a:lnTo>
                  <a:lnTo>
                    <a:pt x="223" y="576"/>
                  </a:lnTo>
                  <a:lnTo>
                    <a:pt x="223" y="564"/>
                  </a:lnTo>
                  <a:lnTo>
                    <a:pt x="221" y="555"/>
                  </a:lnTo>
                  <a:lnTo>
                    <a:pt x="218" y="545"/>
                  </a:lnTo>
                  <a:lnTo>
                    <a:pt x="223" y="536"/>
                  </a:lnTo>
                  <a:lnTo>
                    <a:pt x="228" y="531"/>
                  </a:lnTo>
                  <a:lnTo>
                    <a:pt x="232" y="533"/>
                  </a:lnTo>
                  <a:lnTo>
                    <a:pt x="232" y="545"/>
                  </a:lnTo>
                  <a:lnTo>
                    <a:pt x="235" y="562"/>
                  </a:lnTo>
                  <a:lnTo>
                    <a:pt x="240" y="567"/>
                  </a:lnTo>
                  <a:lnTo>
                    <a:pt x="240" y="574"/>
                  </a:lnTo>
                  <a:lnTo>
                    <a:pt x="240" y="581"/>
                  </a:lnTo>
                  <a:lnTo>
                    <a:pt x="244" y="588"/>
                  </a:lnTo>
                  <a:lnTo>
                    <a:pt x="249" y="591"/>
                  </a:lnTo>
                  <a:lnTo>
                    <a:pt x="254" y="598"/>
                  </a:lnTo>
                  <a:lnTo>
                    <a:pt x="251" y="602"/>
                  </a:lnTo>
                  <a:lnTo>
                    <a:pt x="254" y="610"/>
                  </a:lnTo>
                  <a:lnTo>
                    <a:pt x="261" y="610"/>
                  </a:lnTo>
                  <a:lnTo>
                    <a:pt x="268" y="617"/>
                  </a:lnTo>
                  <a:lnTo>
                    <a:pt x="268" y="629"/>
                  </a:lnTo>
                  <a:lnTo>
                    <a:pt x="273" y="638"/>
                  </a:lnTo>
                  <a:lnTo>
                    <a:pt x="280" y="648"/>
                  </a:lnTo>
                  <a:lnTo>
                    <a:pt x="282" y="662"/>
                  </a:lnTo>
                  <a:lnTo>
                    <a:pt x="275" y="667"/>
                  </a:lnTo>
                  <a:lnTo>
                    <a:pt x="268" y="674"/>
                  </a:lnTo>
                  <a:lnTo>
                    <a:pt x="270" y="686"/>
                  </a:lnTo>
                  <a:lnTo>
                    <a:pt x="285" y="693"/>
                  </a:lnTo>
                  <a:lnTo>
                    <a:pt x="292" y="705"/>
                  </a:lnTo>
                  <a:lnTo>
                    <a:pt x="301" y="712"/>
                  </a:lnTo>
                  <a:lnTo>
                    <a:pt x="308" y="712"/>
                  </a:lnTo>
                  <a:lnTo>
                    <a:pt x="320" y="721"/>
                  </a:lnTo>
                  <a:lnTo>
                    <a:pt x="330" y="729"/>
                  </a:lnTo>
                  <a:lnTo>
                    <a:pt x="339" y="726"/>
                  </a:lnTo>
                  <a:lnTo>
                    <a:pt x="351" y="736"/>
                  </a:lnTo>
                  <a:lnTo>
                    <a:pt x="363" y="736"/>
                  </a:lnTo>
                  <a:lnTo>
                    <a:pt x="370" y="731"/>
                  </a:lnTo>
                  <a:lnTo>
                    <a:pt x="384" y="731"/>
                  </a:lnTo>
                  <a:lnTo>
                    <a:pt x="392" y="741"/>
                  </a:lnTo>
                  <a:lnTo>
                    <a:pt x="399" y="750"/>
                  </a:lnTo>
                  <a:lnTo>
                    <a:pt x="411" y="760"/>
                  </a:lnTo>
                  <a:lnTo>
                    <a:pt x="425" y="769"/>
                  </a:lnTo>
                  <a:lnTo>
                    <a:pt x="434" y="769"/>
                  </a:lnTo>
                  <a:lnTo>
                    <a:pt x="441" y="764"/>
                  </a:lnTo>
                  <a:lnTo>
                    <a:pt x="446" y="767"/>
                  </a:lnTo>
                  <a:lnTo>
                    <a:pt x="446" y="776"/>
                  </a:lnTo>
                  <a:lnTo>
                    <a:pt x="451" y="783"/>
                  </a:lnTo>
                  <a:lnTo>
                    <a:pt x="460" y="798"/>
                  </a:lnTo>
                  <a:lnTo>
                    <a:pt x="460" y="812"/>
                  </a:lnTo>
                  <a:lnTo>
                    <a:pt x="465" y="814"/>
                  </a:lnTo>
                  <a:lnTo>
                    <a:pt x="472" y="810"/>
                  </a:lnTo>
                  <a:lnTo>
                    <a:pt x="479" y="814"/>
                  </a:lnTo>
                  <a:lnTo>
                    <a:pt x="482" y="826"/>
                  </a:lnTo>
                  <a:lnTo>
                    <a:pt x="489" y="833"/>
                  </a:lnTo>
                  <a:lnTo>
                    <a:pt x="498" y="836"/>
                  </a:lnTo>
                  <a:lnTo>
                    <a:pt x="508" y="840"/>
                  </a:lnTo>
                  <a:lnTo>
                    <a:pt x="515" y="840"/>
                  </a:lnTo>
                  <a:lnTo>
                    <a:pt x="517" y="831"/>
                  </a:lnTo>
                  <a:lnTo>
                    <a:pt x="529" y="829"/>
                  </a:lnTo>
                  <a:lnTo>
                    <a:pt x="532" y="831"/>
                  </a:lnTo>
                  <a:lnTo>
                    <a:pt x="534" y="838"/>
                  </a:lnTo>
                  <a:lnTo>
                    <a:pt x="539" y="843"/>
                  </a:lnTo>
                  <a:lnTo>
                    <a:pt x="546" y="850"/>
                  </a:lnTo>
                  <a:lnTo>
                    <a:pt x="546" y="862"/>
                  </a:lnTo>
                  <a:lnTo>
                    <a:pt x="546" y="876"/>
                  </a:lnTo>
                  <a:lnTo>
                    <a:pt x="546" y="888"/>
                  </a:lnTo>
                  <a:lnTo>
                    <a:pt x="541" y="898"/>
                  </a:lnTo>
                  <a:lnTo>
                    <a:pt x="534" y="907"/>
                  </a:lnTo>
                  <a:lnTo>
                    <a:pt x="522" y="919"/>
                  </a:lnTo>
                  <a:lnTo>
                    <a:pt x="515" y="926"/>
                  </a:lnTo>
                  <a:lnTo>
                    <a:pt x="513" y="931"/>
                  </a:lnTo>
                  <a:lnTo>
                    <a:pt x="513" y="948"/>
                  </a:lnTo>
                  <a:lnTo>
                    <a:pt x="508" y="957"/>
                  </a:lnTo>
                  <a:lnTo>
                    <a:pt x="506" y="964"/>
                  </a:lnTo>
                  <a:lnTo>
                    <a:pt x="510" y="967"/>
                  </a:lnTo>
                  <a:lnTo>
                    <a:pt x="515" y="967"/>
                  </a:lnTo>
                  <a:lnTo>
                    <a:pt x="517" y="969"/>
                  </a:lnTo>
                  <a:lnTo>
                    <a:pt x="513" y="974"/>
                  </a:lnTo>
                  <a:lnTo>
                    <a:pt x="508" y="978"/>
                  </a:lnTo>
                  <a:lnTo>
                    <a:pt x="506" y="998"/>
                  </a:lnTo>
                  <a:lnTo>
                    <a:pt x="510" y="1012"/>
                  </a:lnTo>
                  <a:lnTo>
                    <a:pt x="520" y="1017"/>
                  </a:lnTo>
                  <a:lnTo>
                    <a:pt x="525" y="1031"/>
                  </a:lnTo>
                  <a:lnTo>
                    <a:pt x="527" y="1043"/>
                  </a:lnTo>
                  <a:lnTo>
                    <a:pt x="534" y="1055"/>
                  </a:lnTo>
                  <a:lnTo>
                    <a:pt x="541" y="1062"/>
                  </a:lnTo>
                  <a:lnTo>
                    <a:pt x="546" y="1071"/>
                  </a:lnTo>
                  <a:lnTo>
                    <a:pt x="551" y="1078"/>
                  </a:lnTo>
                  <a:lnTo>
                    <a:pt x="553" y="1088"/>
                  </a:lnTo>
                  <a:lnTo>
                    <a:pt x="553" y="1097"/>
                  </a:lnTo>
                  <a:lnTo>
                    <a:pt x="555" y="1107"/>
                  </a:lnTo>
                  <a:lnTo>
                    <a:pt x="565" y="1117"/>
                  </a:lnTo>
                  <a:lnTo>
                    <a:pt x="579" y="1128"/>
                  </a:lnTo>
                  <a:lnTo>
                    <a:pt x="596" y="1138"/>
                  </a:lnTo>
                  <a:lnTo>
                    <a:pt x="608" y="1143"/>
                  </a:lnTo>
                  <a:lnTo>
                    <a:pt x="612" y="1152"/>
                  </a:lnTo>
                  <a:lnTo>
                    <a:pt x="617" y="1162"/>
                  </a:lnTo>
                  <a:lnTo>
                    <a:pt x="627" y="1176"/>
                  </a:lnTo>
                  <a:lnTo>
                    <a:pt x="629" y="1195"/>
                  </a:lnTo>
                  <a:lnTo>
                    <a:pt x="631" y="1219"/>
                  </a:lnTo>
                  <a:lnTo>
                    <a:pt x="636" y="1238"/>
                  </a:lnTo>
                  <a:lnTo>
                    <a:pt x="639" y="1247"/>
                  </a:lnTo>
                  <a:lnTo>
                    <a:pt x="639" y="1257"/>
                  </a:lnTo>
                  <a:lnTo>
                    <a:pt x="636" y="1266"/>
                  </a:lnTo>
                  <a:lnTo>
                    <a:pt x="639" y="1276"/>
                  </a:lnTo>
                  <a:lnTo>
                    <a:pt x="634" y="1288"/>
                  </a:lnTo>
                  <a:lnTo>
                    <a:pt x="629" y="1302"/>
                  </a:lnTo>
                  <a:lnTo>
                    <a:pt x="636" y="1309"/>
                  </a:lnTo>
                  <a:lnTo>
                    <a:pt x="636" y="1314"/>
                  </a:lnTo>
                  <a:lnTo>
                    <a:pt x="634" y="1316"/>
                  </a:lnTo>
                  <a:lnTo>
                    <a:pt x="634" y="1326"/>
                  </a:lnTo>
                  <a:lnTo>
                    <a:pt x="639" y="1335"/>
                  </a:lnTo>
                  <a:lnTo>
                    <a:pt x="643" y="1350"/>
                  </a:lnTo>
                  <a:lnTo>
                    <a:pt x="643" y="1364"/>
                  </a:lnTo>
                  <a:lnTo>
                    <a:pt x="643" y="1378"/>
                  </a:lnTo>
                  <a:lnTo>
                    <a:pt x="646" y="1395"/>
                  </a:lnTo>
                  <a:lnTo>
                    <a:pt x="643" y="1402"/>
                  </a:lnTo>
                  <a:lnTo>
                    <a:pt x="636" y="1407"/>
                  </a:lnTo>
                  <a:lnTo>
                    <a:pt x="639" y="1419"/>
                  </a:lnTo>
                  <a:lnTo>
                    <a:pt x="643" y="1428"/>
                  </a:lnTo>
                  <a:lnTo>
                    <a:pt x="643" y="1435"/>
                  </a:lnTo>
                  <a:lnTo>
                    <a:pt x="643" y="1447"/>
                  </a:lnTo>
                  <a:lnTo>
                    <a:pt x="651" y="1462"/>
                  </a:lnTo>
                  <a:lnTo>
                    <a:pt x="655" y="1471"/>
                  </a:lnTo>
                  <a:lnTo>
                    <a:pt x="660" y="1476"/>
                  </a:lnTo>
                  <a:lnTo>
                    <a:pt x="662" y="1469"/>
                  </a:lnTo>
                  <a:lnTo>
                    <a:pt x="667" y="1471"/>
                  </a:lnTo>
                  <a:lnTo>
                    <a:pt x="667" y="1483"/>
                  </a:lnTo>
                  <a:lnTo>
                    <a:pt x="665" y="1490"/>
                  </a:lnTo>
                  <a:lnTo>
                    <a:pt x="672" y="1500"/>
                  </a:lnTo>
                  <a:lnTo>
                    <a:pt x="670" y="1509"/>
                  </a:lnTo>
                  <a:lnTo>
                    <a:pt x="667" y="1521"/>
                  </a:lnTo>
                  <a:lnTo>
                    <a:pt x="660" y="1523"/>
                  </a:lnTo>
                  <a:lnTo>
                    <a:pt x="653" y="1528"/>
                  </a:lnTo>
                  <a:lnTo>
                    <a:pt x="653" y="1535"/>
                  </a:lnTo>
                  <a:lnTo>
                    <a:pt x="667" y="1535"/>
                  </a:lnTo>
                  <a:lnTo>
                    <a:pt x="670" y="1542"/>
                  </a:lnTo>
                  <a:lnTo>
                    <a:pt x="667" y="1550"/>
                  </a:lnTo>
                  <a:lnTo>
                    <a:pt x="670" y="1557"/>
                  </a:lnTo>
                  <a:lnTo>
                    <a:pt x="674" y="1554"/>
                  </a:lnTo>
                  <a:lnTo>
                    <a:pt x="674" y="1564"/>
                  </a:lnTo>
                  <a:lnTo>
                    <a:pt x="677" y="1576"/>
                  </a:lnTo>
                  <a:lnTo>
                    <a:pt x="674" y="1588"/>
                  </a:lnTo>
                  <a:lnTo>
                    <a:pt x="679" y="1592"/>
                  </a:lnTo>
                  <a:lnTo>
                    <a:pt x="689" y="1595"/>
                  </a:lnTo>
                  <a:lnTo>
                    <a:pt x="698" y="1604"/>
                  </a:lnTo>
                  <a:lnTo>
                    <a:pt x="708" y="1604"/>
                  </a:lnTo>
                  <a:lnTo>
                    <a:pt x="712" y="1607"/>
                  </a:lnTo>
                  <a:lnTo>
                    <a:pt x="712" y="1612"/>
                  </a:lnTo>
                  <a:lnTo>
                    <a:pt x="719" y="1616"/>
                  </a:lnTo>
                  <a:lnTo>
                    <a:pt x="727" y="1616"/>
                  </a:lnTo>
                  <a:lnTo>
                    <a:pt x="727" y="1621"/>
                  </a:lnTo>
                  <a:lnTo>
                    <a:pt x="722" y="1626"/>
                  </a:lnTo>
                  <a:lnTo>
                    <a:pt x="727" y="1628"/>
                  </a:lnTo>
                  <a:lnTo>
                    <a:pt x="734" y="1628"/>
                  </a:lnTo>
                  <a:lnTo>
                    <a:pt x="736" y="1621"/>
                  </a:lnTo>
                  <a:lnTo>
                    <a:pt x="741" y="1623"/>
                  </a:lnTo>
                  <a:lnTo>
                    <a:pt x="746" y="1633"/>
                  </a:lnTo>
                  <a:lnTo>
                    <a:pt x="736" y="1638"/>
                  </a:lnTo>
                  <a:lnTo>
                    <a:pt x="727" y="1638"/>
                  </a:lnTo>
                  <a:lnTo>
                    <a:pt x="727" y="1642"/>
                  </a:lnTo>
                  <a:lnTo>
                    <a:pt x="738" y="1645"/>
                  </a:lnTo>
                  <a:lnTo>
                    <a:pt x="755" y="1642"/>
                  </a:lnTo>
                  <a:lnTo>
                    <a:pt x="769" y="1645"/>
                  </a:lnTo>
                  <a:lnTo>
                    <a:pt x="788" y="1652"/>
                  </a:lnTo>
                  <a:lnTo>
                    <a:pt x="795" y="1652"/>
                  </a:lnTo>
                  <a:lnTo>
                    <a:pt x="800" y="1654"/>
                  </a:lnTo>
                  <a:lnTo>
                    <a:pt x="812" y="1652"/>
                  </a:lnTo>
                  <a:lnTo>
                    <a:pt x="810" y="1642"/>
                  </a:lnTo>
                  <a:lnTo>
                    <a:pt x="803" y="1642"/>
                  </a:lnTo>
                  <a:lnTo>
                    <a:pt x="795" y="1638"/>
                  </a:lnTo>
                  <a:lnTo>
                    <a:pt x="786" y="1635"/>
                  </a:lnTo>
                  <a:lnTo>
                    <a:pt x="779" y="1631"/>
                  </a:lnTo>
                  <a:lnTo>
                    <a:pt x="765" y="1631"/>
                  </a:lnTo>
                  <a:lnTo>
                    <a:pt x="762" y="1623"/>
                  </a:lnTo>
                  <a:lnTo>
                    <a:pt x="755" y="1619"/>
                  </a:lnTo>
                  <a:lnTo>
                    <a:pt x="755" y="1612"/>
                  </a:lnTo>
                  <a:lnTo>
                    <a:pt x="748" y="1607"/>
                  </a:lnTo>
                  <a:lnTo>
                    <a:pt x="748" y="1597"/>
                  </a:lnTo>
                  <a:lnTo>
                    <a:pt x="743" y="1592"/>
                  </a:lnTo>
                  <a:lnTo>
                    <a:pt x="741" y="1583"/>
                  </a:lnTo>
                  <a:lnTo>
                    <a:pt x="750" y="1573"/>
                  </a:lnTo>
                  <a:lnTo>
                    <a:pt x="748" y="1564"/>
                  </a:lnTo>
                  <a:lnTo>
                    <a:pt x="753" y="1557"/>
                  </a:lnTo>
                  <a:lnTo>
                    <a:pt x="760" y="1552"/>
                  </a:lnTo>
                  <a:lnTo>
                    <a:pt x="757" y="1542"/>
                  </a:lnTo>
                  <a:lnTo>
                    <a:pt x="753" y="1538"/>
                  </a:lnTo>
                  <a:lnTo>
                    <a:pt x="746" y="1538"/>
                  </a:lnTo>
                  <a:lnTo>
                    <a:pt x="741" y="1526"/>
                  </a:lnTo>
                  <a:lnTo>
                    <a:pt x="738" y="1516"/>
                  </a:lnTo>
                  <a:lnTo>
                    <a:pt x="748" y="1507"/>
                  </a:lnTo>
                  <a:lnTo>
                    <a:pt x="750" y="1488"/>
                  </a:lnTo>
                  <a:lnTo>
                    <a:pt x="746" y="1483"/>
                  </a:lnTo>
                  <a:lnTo>
                    <a:pt x="743" y="1481"/>
                  </a:lnTo>
                  <a:lnTo>
                    <a:pt x="741" y="1469"/>
                  </a:lnTo>
                  <a:lnTo>
                    <a:pt x="736" y="1462"/>
                  </a:lnTo>
                  <a:lnTo>
                    <a:pt x="731" y="1457"/>
                  </a:lnTo>
                  <a:lnTo>
                    <a:pt x="736" y="1450"/>
                  </a:lnTo>
                  <a:lnTo>
                    <a:pt x="741" y="1452"/>
                  </a:lnTo>
                  <a:lnTo>
                    <a:pt x="746" y="1457"/>
                  </a:lnTo>
                  <a:lnTo>
                    <a:pt x="750" y="1464"/>
                  </a:lnTo>
                  <a:lnTo>
                    <a:pt x="757" y="1462"/>
                  </a:lnTo>
                  <a:lnTo>
                    <a:pt x="760" y="1454"/>
                  </a:lnTo>
                  <a:lnTo>
                    <a:pt x="755" y="1445"/>
                  </a:lnTo>
                  <a:lnTo>
                    <a:pt x="757" y="1428"/>
                  </a:lnTo>
                  <a:lnTo>
                    <a:pt x="762" y="1426"/>
                  </a:lnTo>
                  <a:lnTo>
                    <a:pt x="769" y="1431"/>
                  </a:lnTo>
                  <a:lnTo>
                    <a:pt x="776" y="1428"/>
                  </a:lnTo>
                  <a:lnTo>
                    <a:pt x="786" y="1426"/>
                  </a:lnTo>
                  <a:lnTo>
                    <a:pt x="795" y="1426"/>
                  </a:lnTo>
                  <a:lnTo>
                    <a:pt x="807" y="1409"/>
                  </a:lnTo>
                  <a:lnTo>
                    <a:pt x="807" y="1397"/>
                  </a:lnTo>
                  <a:lnTo>
                    <a:pt x="803" y="1388"/>
                  </a:lnTo>
                  <a:lnTo>
                    <a:pt x="800" y="1383"/>
                  </a:lnTo>
                  <a:lnTo>
                    <a:pt x="791" y="1378"/>
                  </a:lnTo>
                  <a:lnTo>
                    <a:pt x="781" y="1371"/>
                  </a:lnTo>
                  <a:lnTo>
                    <a:pt x="774" y="1359"/>
                  </a:lnTo>
                  <a:lnTo>
                    <a:pt x="774" y="1350"/>
                  </a:lnTo>
                  <a:lnTo>
                    <a:pt x="779" y="1347"/>
                  </a:lnTo>
                  <a:lnTo>
                    <a:pt x="781" y="1354"/>
                  </a:lnTo>
                  <a:lnTo>
                    <a:pt x="791" y="1364"/>
                  </a:lnTo>
                  <a:lnTo>
                    <a:pt x="810" y="1371"/>
                  </a:lnTo>
                  <a:lnTo>
                    <a:pt x="824" y="1369"/>
                  </a:lnTo>
                  <a:lnTo>
                    <a:pt x="833" y="1359"/>
                  </a:lnTo>
                  <a:lnTo>
                    <a:pt x="833" y="1340"/>
                  </a:lnTo>
                  <a:lnTo>
                    <a:pt x="833" y="1324"/>
                  </a:lnTo>
                  <a:lnTo>
                    <a:pt x="836" y="1319"/>
                  </a:lnTo>
                  <a:lnTo>
                    <a:pt x="838" y="1319"/>
                  </a:lnTo>
                  <a:lnTo>
                    <a:pt x="841" y="1324"/>
                  </a:lnTo>
                  <a:lnTo>
                    <a:pt x="843" y="1331"/>
                  </a:lnTo>
                  <a:lnTo>
                    <a:pt x="848" y="1333"/>
                  </a:lnTo>
                  <a:lnTo>
                    <a:pt x="850" y="1321"/>
                  </a:lnTo>
                  <a:lnTo>
                    <a:pt x="857" y="1305"/>
                  </a:lnTo>
                  <a:lnTo>
                    <a:pt x="871" y="1290"/>
                  </a:lnTo>
                  <a:lnTo>
                    <a:pt x="871" y="1281"/>
                  </a:lnTo>
                  <a:lnTo>
                    <a:pt x="869" y="1264"/>
                  </a:lnTo>
                  <a:lnTo>
                    <a:pt x="869" y="1252"/>
                  </a:lnTo>
                  <a:lnTo>
                    <a:pt x="881" y="1243"/>
                  </a:lnTo>
                  <a:lnTo>
                    <a:pt x="900" y="1233"/>
                  </a:lnTo>
                  <a:lnTo>
                    <a:pt x="917" y="1228"/>
                  </a:lnTo>
                  <a:lnTo>
                    <a:pt x="938" y="1214"/>
                  </a:lnTo>
                  <a:lnTo>
                    <a:pt x="945" y="1197"/>
                  </a:lnTo>
                  <a:lnTo>
                    <a:pt x="955" y="1181"/>
                  </a:lnTo>
                  <a:lnTo>
                    <a:pt x="962" y="1169"/>
                  </a:lnTo>
                  <a:lnTo>
                    <a:pt x="964" y="1150"/>
                  </a:lnTo>
                  <a:lnTo>
                    <a:pt x="966" y="1145"/>
                  </a:lnTo>
                  <a:lnTo>
                    <a:pt x="964" y="1136"/>
                  </a:lnTo>
                  <a:lnTo>
                    <a:pt x="964" y="1128"/>
                  </a:lnTo>
                  <a:lnTo>
                    <a:pt x="966" y="1119"/>
                  </a:lnTo>
                  <a:lnTo>
                    <a:pt x="969" y="1112"/>
                  </a:lnTo>
                  <a:lnTo>
                    <a:pt x="964" y="1102"/>
                  </a:lnTo>
                  <a:lnTo>
                    <a:pt x="966" y="1090"/>
                  </a:lnTo>
                  <a:lnTo>
                    <a:pt x="985" y="1076"/>
                  </a:lnTo>
                  <a:lnTo>
                    <a:pt x="995" y="1055"/>
                  </a:lnTo>
                  <a:lnTo>
                    <a:pt x="1004" y="1040"/>
                  </a:lnTo>
                  <a:lnTo>
                    <a:pt x="1012" y="1033"/>
                  </a:lnTo>
                  <a:lnTo>
                    <a:pt x="1012" y="1026"/>
                  </a:lnTo>
                  <a:lnTo>
                    <a:pt x="1007" y="1019"/>
                  </a:lnTo>
                  <a:lnTo>
                    <a:pt x="1009" y="1009"/>
                  </a:lnTo>
                  <a:lnTo>
                    <a:pt x="1004" y="998"/>
                  </a:lnTo>
                  <a:lnTo>
                    <a:pt x="990" y="995"/>
                  </a:lnTo>
                  <a:lnTo>
                    <a:pt x="978" y="988"/>
                  </a:lnTo>
                  <a:lnTo>
                    <a:pt x="964" y="981"/>
                  </a:lnTo>
                  <a:lnTo>
                    <a:pt x="945" y="969"/>
                  </a:lnTo>
                  <a:lnTo>
                    <a:pt x="926" y="967"/>
                  </a:lnTo>
                  <a:lnTo>
                    <a:pt x="912" y="959"/>
                  </a:lnTo>
                  <a:lnTo>
                    <a:pt x="907" y="962"/>
                  </a:lnTo>
                  <a:lnTo>
                    <a:pt x="900" y="969"/>
                  </a:lnTo>
                  <a:lnTo>
                    <a:pt x="893" y="969"/>
                  </a:lnTo>
                  <a:lnTo>
                    <a:pt x="898" y="957"/>
                  </a:lnTo>
                  <a:lnTo>
                    <a:pt x="893" y="950"/>
                  </a:lnTo>
                  <a:lnTo>
                    <a:pt x="879" y="945"/>
                  </a:lnTo>
                  <a:lnTo>
                    <a:pt x="871" y="943"/>
                  </a:lnTo>
                  <a:lnTo>
                    <a:pt x="860" y="940"/>
                  </a:lnTo>
                  <a:lnTo>
                    <a:pt x="852" y="943"/>
                  </a:lnTo>
                  <a:lnTo>
                    <a:pt x="850" y="950"/>
                  </a:lnTo>
                  <a:lnTo>
                    <a:pt x="841" y="959"/>
                  </a:lnTo>
                  <a:lnTo>
                    <a:pt x="831" y="959"/>
                  </a:lnTo>
                  <a:lnTo>
                    <a:pt x="831" y="952"/>
                  </a:lnTo>
                  <a:lnTo>
                    <a:pt x="836" y="948"/>
                  </a:lnTo>
                  <a:lnTo>
                    <a:pt x="843" y="943"/>
                  </a:lnTo>
                  <a:lnTo>
                    <a:pt x="843" y="940"/>
                  </a:lnTo>
                  <a:lnTo>
                    <a:pt x="833" y="938"/>
                  </a:lnTo>
                  <a:lnTo>
                    <a:pt x="826" y="940"/>
                  </a:lnTo>
                  <a:lnTo>
                    <a:pt x="819" y="945"/>
                  </a:lnTo>
                  <a:lnTo>
                    <a:pt x="817" y="940"/>
                  </a:lnTo>
                  <a:lnTo>
                    <a:pt x="822" y="931"/>
                  </a:lnTo>
                  <a:lnTo>
                    <a:pt x="831" y="929"/>
                  </a:lnTo>
                  <a:lnTo>
                    <a:pt x="836" y="914"/>
                  </a:lnTo>
                  <a:lnTo>
                    <a:pt x="829" y="905"/>
                  </a:lnTo>
                  <a:lnTo>
                    <a:pt x="826" y="895"/>
                  </a:lnTo>
                  <a:lnTo>
                    <a:pt x="822" y="881"/>
                  </a:lnTo>
                  <a:lnTo>
                    <a:pt x="814" y="876"/>
                  </a:lnTo>
                  <a:lnTo>
                    <a:pt x="807" y="874"/>
                  </a:lnTo>
                  <a:lnTo>
                    <a:pt x="805" y="869"/>
                  </a:lnTo>
                  <a:lnTo>
                    <a:pt x="786" y="862"/>
                  </a:lnTo>
                  <a:lnTo>
                    <a:pt x="776" y="864"/>
                  </a:lnTo>
                  <a:lnTo>
                    <a:pt x="767" y="864"/>
                  </a:lnTo>
                  <a:lnTo>
                    <a:pt x="755" y="857"/>
                  </a:lnTo>
                  <a:lnTo>
                    <a:pt x="743" y="857"/>
                  </a:lnTo>
                  <a:lnTo>
                    <a:pt x="741" y="848"/>
                  </a:lnTo>
                  <a:lnTo>
                    <a:pt x="736" y="831"/>
                  </a:lnTo>
                  <a:lnTo>
                    <a:pt x="727" y="819"/>
                  </a:lnTo>
                  <a:lnTo>
                    <a:pt x="722" y="812"/>
                  </a:lnTo>
                  <a:lnTo>
                    <a:pt x="705" y="810"/>
                  </a:lnTo>
                  <a:lnTo>
                    <a:pt x="703" y="800"/>
                  </a:lnTo>
                  <a:lnTo>
                    <a:pt x="698" y="798"/>
                  </a:lnTo>
                  <a:lnTo>
                    <a:pt x="684" y="805"/>
                  </a:lnTo>
                  <a:lnTo>
                    <a:pt x="672" y="807"/>
                  </a:lnTo>
                  <a:lnTo>
                    <a:pt x="667" y="805"/>
                  </a:lnTo>
                  <a:lnTo>
                    <a:pt x="655" y="802"/>
                  </a:lnTo>
                  <a:lnTo>
                    <a:pt x="648" y="795"/>
                  </a:lnTo>
                  <a:lnTo>
                    <a:pt x="639" y="793"/>
                  </a:lnTo>
                  <a:lnTo>
                    <a:pt x="631" y="786"/>
                  </a:lnTo>
                  <a:lnTo>
                    <a:pt x="624" y="788"/>
                  </a:lnTo>
                  <a:lnTo>
                    <a:pt x="624" y="795"/>
                  </a:lnTo>
                  <a:lnTo>
                    <a:pt x="617" y="802"/>
                  </a:lnTo>
                  <a:lnTo>
                    <a:pt x="617" y="814"/>
                  </a:lnTo>
                  <a:lnTo>
                    <a:pt x="615" y="824"/>
                  </a:lnTo>
                  <a:lnTo>
                    <a:pt x="608" y="826"/>
                  </a:lnTo>
                  <a:lnTo>
                    <a:pt x="605" y="819"/>
                  </a:lnTo>
                  <a:lnTo>
                    <a:pt x="603" y="805"/>
                  </a:lnTo>
                  <a:lnTo>
                    <a:pt x="610" y="790"/>
                  </a:lnTo>
                  <a:lnTo>
                    <a:pt x="615" y="783"/>
                  </a:lnTo>
                  <a:lnTo>
                    <a:pt x="612" y="776"/>
                  </a:lnTo>
                  <a:lnTo>
                    <a:pt x="605" y="779"/>
                  </a:lnTo>
                  <a:lnTo>
                    <a:pt x="603" y="788"/>
                  </a:lnTo>
                  <a:lnTo>
                    <a:pt x="591" y="790"/>
                  </a:lnTo>
                  <a:lnTo>
                    <a:pt x="582" y="798"/>
                  </a:lnTo>
                  <a:lnTo>
                    <a:pt x="570" y="800"/>
                  </a:lnTo>
                  <a:lnTo>
                    <a:pt x="565" y="812"/>
                  </a:lnTo>
                  <a:lnTo>
                    <a:pt x="558" y="819"/>
                  </a:lnTo>
                  <a:lnTo>
                    <a:pt x="555" y="829"/>
                  </a:lnTo>
                  <a:lnTo>
                    <a:pt x="551" y="829"/>
                  </a:lnTo>
                  <a:lnTo>
                    <a:pt x="539" y="819"/>
                  </a:lnTo>
                  <a:lnTo>
                    <a:pt x="536" y="810"/>
                  </a:lnTo>
                  <a:lnTo>
                    <a:pt x="532" y="807"/>
                  </a:lnTo>
                  <a:lnTo>
                    <a:pt x="520" y="814"/>
                  </a:lnTo>
                  <a:lnTo>
                    <a:pt x="501" y="814"/>
                  </a:lnTo>
                  <a:lnTo>
                    <a:pt x="489" y="800"/>
                  </a:lnTo>
                  <a:lnTo>
                    <a:pt x="489" y="783"/>
                  </a:lnTo>
                  <a:lnTo>
                    <a:pt x="487" y="771"/>
                  </a:lnTo>
                  <a:lnTo>
                    <a:pt x="494" y="760"/>
                  </a:lnTo>
                  <a:lnTo>
                    <a:pt x="494" y="745"/>
                  </a:lnTo>
                  <a:lnTo>
                    <a:pt x="487" y="741"/>
                  </a:lnTo>
                  <a:lnTo>
                    <a:pt x="479" y="736"/>
                  </a:lnTo>
                  <a:lnTo>
                    <a:pt x="463" y="733"/>
                  </a:lnTo>
                  <a:lnTo>
                    <a:pt x="446" y="736"/>
                  </a:lnTo>
                  <a:lnTo>
                    <a:pt x="437" y="741"/>
                  </a:lnTo>
                  <a:lnTo>
                    <a:pt x="432" y="741"/>
                  </a:lnTo>
                  <a:lnTo>
                    <a:pt x="432" y="733"/>
                  </a:lnTo>
                  <a:lnTo>
                    <a:pt x="439" y="729"/>
                  </a:lnTo>
                  <a:lnTo>
                    <a:pt x="449" y="724"/>
                  </a:lnTo>
                  <a:lnTo>
                    <a:pt x="453" y="712"/>
                  </a:lnTo>
                  <a:lnTo>
                    <a:pt x="453" y="702"/>
                  </a:lnTo>
                  <a:lnTo>
                    <a:pt x="463" y="695"/>
                  </a:lnTo>
                  <a:lnTo>
                    <a:pt x="458" y="681"/>
                  </a:lnTo>
                  <a:lnTo>
                    <a:pt x="465" y="667"/>
                  </a:lnTo>
                  <a:lnTo>
                    <a:pt x="463" y="662"/>
                  </a:lnTo>
                  <a:lnTo>
                    <a:pt x="451" y="660"/>
                  </a:lnTo>
                  <a:lnTo>
                    <a:pt x="439" y="664"/>
                  </a:lnTo>
                  <a:lnTo>
                    <a:pt x="427" y="676"/>
                  </a:lnTo>
                  <a:lnTo>
                    <a:pt x="418" y="693"/>
                  </a:lnTo>
                  <a:lnTo>
                    <a:pt x="411" y="695"/>
                  </a:lnTo>
                  <a:lnTo>
                    <a:pt x="399" y="698"/>
                  </a:lnTo>
                  <a:lnTo>
                    <a:pt x="384" y="698"/>
                  </a:lnTo>
                  <a:lnTo>
                    <a:pt x="368" y="679"/>
                  </a:lnTo>
                  <a:lnTo>
                    <a:pt x="368" y="667"/>
                  </a:lnTo>
                  <a:lnTo>
                    <a:pt x="363" y="655"/>
                  </a:lnTo>
                  <a:lnTo>
                    <a:pt x="365" y="636"/>
                  </a:lnTo>
                  <a:lnTo>
                    <a:pt x="365" y="619"/>
                  </a:lnTo>
                  <a:lnTo>
                    <a:pt x="375" y="605"/>
                  </a:lnTo>
                  <a:lnTo>
                    <a:pt x="377" y="586"/>
                  </a:lnTo>
                  <a:lnTo>
                    <a:pt x="389" y="567"/>
                  </a:lnTo>
                  <a:lnTo>
                    <a:pt x="418" y="562"/>
                  </a:lnTo>
                  <a:lnTo>
                    <a:pt x="434" y="564"/>
                  </a:lnTo>
                  <a:lnTo>
                    <a:pt x="449" y="572"/>
                  </a:lnTo>
                  <a:lnTo>
                    <a:pt x="460" y="567"/>
                  </a:lnTo>
                  <a:lnTo>
                    <a:pt x="465" y="555"/>
                  </a:lnTo>
                  <a:lnTo>
                    <a:pt x="482" y="553"/>
                  </a:lnTo>
                  <a:lnTo>
                    <a:pt x="487" y="550"/>
                  </a:lnTo>
                  <a:lnTo>
                    <a:pt x="494" y="550"/>
                  </a:lnTo>
                  <a:lnTo>
                    <a:pt x="498" y="560"/>
                  </a:lnTo>
                  <a:lnTo>
                    <a:pt x="515" y="560"/>
                  </a:lnTo>
                  <a:lnTo>
                    <a:pt x="525" y="567"/>
                  </a:lnTo>
                  <a:lnTo>
                    <a:pt x="522" y="581"/>
                  </a:lnTo>
                  <a:lnTo>
                    <a:pt x="525" y="595"/>
                  </a:lnTo>
                  <a:lnTo>
                    <a:pt x="529" y="605"/>
                  </a:lnTo>
                  <a:lnTo>
                    <a:pt x="532" y="612"/>
                  </a:lnTo>
                  <a:lnTo>
                    <a:pt x="536" y="617"/>
                  </a:lnTo>
                  <a:lnTo>
                    <a:pt x="541" y="612"/>
                  </a:lnTo>
                  <a:lnTo>
                    <a:pt x="551" y="595"/>
                  </a:lnTo>
                  <a:lnTo>
                    <a:pt x="553" y="576"/>
                  </a:lnTo>
                  <a:lnTo>
                    <a:pt x="548" y="560"/>
                  </a:lnTo>
                  <a:lnTo>
                    <a:pt x="553" y="545"/>
                  </a:lnTo>
                  <a:lnTo>
                    <a:pt x="558" y="526"/>
                  </a:lnTo>
                  <a:lnTo>
                    <a:pt x="589" y="512"/>
                  </a:lnTo>
                  <a:lnTo>
                    <a:pt x="608" y="498"/>
                  </a:lnTo>
                  <a:lnTo>
                    <a:pt x="620" y="491"/>
                  </a:lnTo>
                  <a:lnTo>
                    <a:pt x="624" y="474"/>
                  </a:lnTo>
                  <a:lnTo>
                    <a:pt x="627" y="467"/>
                  </a:lnTo>
                  <a:lnTo>
                    <a:pt x="617" y="460"/>
                  </a:lnTo>
                  <a:lnTo>
                    <a:pt x="617" y="448"/>
                  </a:lnTo>
                  <a:lnTo>
                    <a:pt x="620" y="438"/>
                  </a:lnTo>
                  <a:lnTo>
                    <a:pt x="624" y="438"/>
                  </a:lnTo>
                  <a:lnTo>
                    <a:pt x="627" y="453"/>
                  </a:lnTo>
                  <a:lnTo>
                    <a:pt x="631" y="460"/>
                  </a:lnTo>
                  <a:lnTo>
                    <a:pt x="636" y="457"/>
                  </a:lnTo>
                  <a:lnTo>
                    <a:pt x="639" y="450"/>
                  </a:lnTo>
                  <a:lnTo>
                    <a:pt x="636" y="438"/>
                  </a:lnTo>
                  <a:lnTo>
                    <a:pt x="648" y="429"/>
                  </a:lnTo>
                  <a:lnTo>
                    <a:pt x="651" y="422"/>
                  </a:lnTo>
                  <a:lnTo>
                    <a:pt x="651" y="412"/>
                  </a:lnTo>
                  <a:lnTo>
                    <a:pt x="653" y="407"/>
                  </a:lnTo>
                  <a:lnTo>
                    <a:pt x="662" y="407"/>
                  </a:lnTo>
                  <a:lnTo>
                    <a:pt x="681" y="393"/>
                  </a:lnTo>
                  <a:lnTo>
                    <a:pt x="686" y="393"/>
                  </a:lnTo>
                  <a:lnTo>
                    <a:pt x="689" y="400"/>
                  </a:lnTo>
                  <a:lnTo>
                    <a:pt x="698" y="400"/>
                  </a:lnTo>
                  <a:lnTo>
                    <a:pt x="705" y="393"/>
                  </a:lnTo>
                  <a:lnTo>
                    <a:pt x="705" y="386"/>
                  </a:lnTo>
                  <a:lnTo>
                    <a:pt x="700" y="384"/>
                  </a:lnTo>
                  <a:lnTo>
                    <a:pt x="703" y="379"/>
                  </a:lnTo>
                  <a:lnTo>
                    <a:pt x="710" y="379"/>
                  </a:lnTo>
                  <a:lnTo>
                    <a:pt x="736" y="360"/>
                  </a:lnTo>
                  <a:lnTo>
                    <a:pt x="741" y="353"/>
                  </a:lnTo>
                  <a:lnTo>
                    <a:pt x="750" y="350"/>
                  </a:lnTo>
                  <a:lnTo>
                    <a:pt x="762" y="345"/>
                  </a:lnTo>
                  <a:lnTo>
                    <a:pt x="769" y="343"/>
                  </a:lnTo>
                  <a:lnTo>
                    <a:pt x="774" y="343"/>
                  </a:lnTo>
                  <a:lnTo>
                    <a:pt x="772" y="350"/>
                  </a:lnTo>
                  <a:lnTo>
                    <a:pt x="760" y="357"/>
                  </a:lnTo>
                  <a:lnTo>
                    <a:pt x="755" y="362"/>
                  </a:lnTo>
                  <a:lnTo>
                    <a:pt x="755" y="367"/>
                  </a:lnTo>
                  <a:lnTo>
                    <a:pt x="760" y="369"/>
                  </a:lnTo>
                  <a:lnTo>
                    <a:pt x="774" y="362"/>
                  </a:lnTo>
                  <a:lnTo>
                    <a:pt x="791" y="355"/>
                  </a:lnTo>
                  <a:lnTo>
                    <a:pt x="795" y="343"/>
                  </a:lnTo>
                  <a:lnTo>
                    <a:pt x="791" y="336"/>
                  </a:lnTo>
                  <a:lnTo>
                    <a:pt x="776" y="331"/>
                  </a:lnTo>
                  <a:lnTo>
                    <a:pt x="774" y="319"/>
                  </a:lnTo>
                  <a:lnTo>
                    <a:pt x="772" y="315"/>
                  </a:lnTo>
                  <a:lnTo>
                    <a:pt x="779" y="303"/>
                  </a:lnTo>
                  <a:lnTo>
                    <a:pt x="784" y="296"/>
                  </a:lnTo>
                  <a:lnTo>
                    <a:pt x="784" y="291"/>
                  </a:lnTo>
                  <a:lnTo>
                    <a:pt x="776" y="291"/>
                  </a:lnTo>
                  <a:lnTo>
                    <a:pt x="767" y="298"/>
                  </a:lnTo>
                  <a:lnTo>
                    <a:pt x="755" y="300"/>
                  </a:lnTo>
                  <a:lnTo>
                    <a:pt x="734" y="317"/>
                  </a:lnTo>
                  <a:lnTo>
                    <a:pt x="724" y="322"/>
                  </a:lnTo>
                  <a:lnTo>
                    <a:pt x="722" y="317"/>
                  </a:lnTo>
                  <a:lnTo>
                    <a:pt x="731" y="305"/>
                  </a:lnTo>
                  <a:lnTo>
                    <a:pt x="746" y="296"/>
                  </a:lnTo>
                  <a:lnTo>
                    <a:pt x="757" y="288"/>
                  </a:lnTo>
                  <a:lnTo>
                    <a:pt x="784" y="274"/>
                  </a:lnTo>
                  <a:lnTo>
                    <a:pt x="810" y="279"/>
                  </a:lnTo>
                  <a:lnTo>
                    <a:pt x="812" y="286"/>
                  </a:lnTo>
                  <a:lnTo>
                    <a:pt x="831" y="286"/>
                  </a:lnTo>
                  <a:lnTo>
                    <a:pt x="845" y="272"/>
                  </a:lnTo>
                  <a:lnTo>
                    <a:pt x="862" y="265"/>
                  </a:lnTo>
                  <a:lnTo>
                    <a:pt x="876" y="246"/>
                  </a:lnTo>
                  <a:lnTo>
                    <a:pt x="874" y="241"/>
                  </a:lnTo>
                  <a:lnTo>
                    <a:pt x="857" y="241"/>
                  </a:lnTo>
                  <a:lnTo>
                    <a:pt x="848" y="238"/>
                  </a:lnTo>
                  <a:lnTo>
                    <a:pt x="848" y="234"/>
                  </a:lnTo>
                  <a:lnTo>
                    <a:pt x="864" y="236"/>
                  </a:lnTo>
                  <a:lnTo>
                    <a:pt x="879" y="231"/>
                  </a:lnTo>
                  <a:lnTo>
                    <a:pt x="881" y="222"/>
                  </a:lnTo>
                  <a:lnTo>
                    <a:pt x="874" y="219"/>
                  </a:lnTo>
                  <a:lnTo>
                    <a:pt x="862" y="219"/>
                  </a:lnTo>
                  <a:lnTo>
                    <a:pt x="860" y="210"/>
                  </a:lnTo>
                  <a:lnTo>
                    <a:pt x="852" y="203"/>
                  </a:lnTo>
                  <a:lnTo>
                    <a:pt x="852" y="196"/>
                  </a:lnTo>
                  <a:lnTo>
                    <a:pt x="857" y="196"/>
                  </a:lnTo>
                  <a:lnTo>
                    <a:pt x="862" y="188"/>
                  </a:lnTo>
                  <a:lnTo>
                    <a:pt x="860" y="179"/>
                  </a:lnTo>
                  <a:lnTo>
                    <a:pt x="864" y="172"/>
                  </a:lnTo>
                  <a:lnTo>
                    <a:pt x="862" y="165"/>
                  </a:lnTo>
                  <a:lnTo>
                    <a:pt x="860" y="157"/>
                  </a:lnTo>
                  <a:lnTo>
                    <a:pt x="860" y="150"/>
                  </a:lnTo>
                  <a:lnTo>
                    <a:pt x="852" y="146"/>
                  </a:lnTo>
                  <a:lnTo>
                    <a:pt x="843" y="155"/>
                  </a:lnTo>
                  <a:lnTo>
                    <a:pt x="838" y="157"/>
                  </a:lnTo>
                  <a:lnTo>
                    <a:pt x="833" y="165"/>
                  </a:lnTo>
                  <a:lnTo>
                    <a:pt x="819" y="165"/>
                  </a:lnTo>
                  <a:lnTo>
                    <a:pt x="814" y="169"/>
                  </a:lnTo>
                  <a:lnTo>
                    <a:pt x="805" y="165"/>
                  </a:lnTo>
                  <a:lnTo>
                    <a:pt x="807" y="155"/>
                  </a:lnTo>
                  <a:lnTo>
                    <a:pt x="800" y="153"/>
                  </a:lnTo>
                  <a:lnTo>
                    <a:pt x="800" y="148"/>
                  </a:lnTo>
                  <a:lnTo>
                    <a:pt x="814" y="143"/>
                  </a:lnTo>
                  <a:lnTo>
                    <a:pt x="819" y="136"/>
                  </a:lnTo>
                  <a:lnTo>
                    <a:pt x="812" y="131"/>
                  </a:lnTo>
                  <a:lnTo>
                    <a:pt x="798" y="131"/>
                  </a:lnTo>
                  <a:lnTo>
                    <a:pt x="795" y="127"/>
                  </a:lnTo>
                  <a:lnTo>
                    <a:pt x="795" y="122"/>
                  </a:lnTo>
                  <a:lnTo>
                    <a:pt x="788" y="119"/>
                  </a:lnTo>
                  <a:lnTo>
                    <a:pt x="774" y="122"/>
                  </a:lnTo>
                  <a:lnTo>
                    <a:pt x="760" y="117"/>
                  </a:lnTo>
                  <a:lnTo>
                    <a:pt x="746" y="127"/>
                  </a:lnTo>
                  <a:lnTo>
                    <a:pt x="738" y="141"/>
                  </a:lnTo>
                  <a:lnTo>
                    <a:pt x="736" y="155"/>
                  </a:lnTo>
                  <a:lnTo>
                    <a:pt x="722" y="162"/>
                  </a:lnTo>
                  <a:lnTo>
                    <a:pt x="717" y="172"/>
                  </a:lnTo>
                  <a:lnTo>
                    <a:pt x="722" y="177"/>
                  </a:lnTo>
                  <a:lnTo>
                    <a:pt x="727" y="181"/>
                  </a:lnTo>
                  <a:lnTo>
                    <a:pt x="727" y="188"/>
                  </a:lnTo>
                  <a:lnTo>
                    <a:pt x="717" y="196"/>
                  </a:lnTo>
                  <a:lnTo>
                    <a:pt x="693" y="210"/>
                  </a:lnTo>
                  <a:lnTo>
                    <a:pt x="681" y="224"/>
                  </a:lnTo>
                  <a:lnTo>
                    <a:pt x="674" y="241"/>
                  </a:lnTo>
                  <a:lnTo>
                    <a:pt x="674" y="255"/>
                  </a:lnTo>
                  <a:lnTo>
                    <a:pt x="667" y="262"/>
                  </a:lnTo>
                  <a:lnTo>
                    <a:pt x="653" y="265"/>
                  </a:lnTo>
                  <a:lnTo>
                    <a:pt x="648" y="262"/>
                  </a:lnTo>
                  <a:lnTo>
                    <a:pt x="648" y="255"/>
                  </a:lnTo>
                  <a:lnTo>
                    <a:pt x="643" y="250"/>
                  </a:lnTo>
                  <a:lnTo>
                    <a:pt x="646" y="238"/>
                  </a:lnTo>
                  <a:lnTo>
                    <a:pt x="646" y="231"/>
                  </a:lnTo>
                  <a:lnTo>
                    <a:pt x="653" y="222"/>
                  </a:lnTo>
                  <a:lnTo>
                    <a:pt x="653" y="210"/>
                  </a:lnTo>
                  <a:lnTo>
                    <a:pt x="648" y="207"/>
                  </a:lnTo>
                  <a:lnTo>
                    <a:pt x="634" y="205"/>
                  </a:lnTo>
                  <a:lnTo>
                    <a:pt x="627" y="196"/>
                  </a:lnTo>
                  <a:lnTo>
                    <a:pt x="617" y="186"/>
                  </a:lnTo>
                  <a:lnTo>
                    <a:pt x="603" y="186"/>
                  </a:lnTo>
                  <a:lnTo>
                    <a:pt x="593" y="181"/>
                  </a:lnTo>
                  <a:lnTo>
                    <a:pt x="593" y="174"/>
                  </a:lnTo>
                  <a:lnTo>
                    <a:pt x="596" y="167"/>
                  </a:lnTo>
                  <a:lnTo>
                    <a:pt x="593" y="160"/>
                  </a:lnTo>
                  <a:lnTo>
                    <a:pt x="591" y="150"/>
                  </a:lnTo>
                  <a:lnTo>
                    <a:pt x="601" y="136"/>
                  </a:lnTo>
                  <a:lnTo>
                    <a:pt x="615" y="122"/>
                  </a:lnTo>
                  <a:lnTo>
                    <a:pt x="634" y="117"/>
                  </a:lnTo>
                  <a:lnTo>
                    <a:pt x="643" y="115"/>
                  </a:lnTo>
                  <a:lnTo>
                    <a:pt x="648" y="112"/>
                  </a:lnTo>
                  <a:lnTo>
                    <a:pt x="641" y="105"/>
                  </a:lnTo>
                  <a:lnTo>
                    <a:pt x="646" y="100"/>
                  </a:lnTo>
                  <a:lnTo>
                    <a:pt x="658" y="103"/>
                  </a:lnTo>
                  <a:lnTo>
                    <a:pt x="686" y="96"/>
                  </a:lnTo>
                  <a:lnTo>
                    <a:pt x="696" y="88"/>
                  </a:lnTo>
                  <a:lnTo>
                    <a:pt x="712" y="84"/>
                  </a:lnTo>
                  <a:lnTo>
                    <a:pt x="722" y="72"/>
                  </a:lnTo>
                  <a:lnTo>
                    <a:pt x="734" y="77"/>
                  </a:lnTo>
                  <a:lnTo>
                    <a:pt x="741" y="72"/>
                  </a:lnTo>
                  <a:lnTo>
                    <a:pt x="757" y="72"/>
                  </a:lnTo>
                  <a:lnTo>
                    <a:pt x="769" y="62"/>
                  </a:lnTo>
                  <a:lnTo>
                    <a:pt x="779" y="46"/>
                  </a:lnTo>
                  <a:lnTo>
                    <a:pt x="786" y="43"/>
                  </a:lnTo>
                  <a:lnTo>
                    <a:pt x="788" y="34"/>
                  </a:lnTo>
                  <a:lnTo>
                    <a:pt x="781" y="34"/>
                  </a:lnTo>
                  <a:lnTo>
                    <a:pt x="779" y="29"/>
                  </a:lnTo>
                  <a:lnTo>
                    <a:pt x="769" y="31"/>
                  </a:lnTo>
                  <a:lnTo>
                    <a:pt x="760" y="34"/>
                  </a:lnTo>
                  <a:lnTo>
                    <a:pt x="753" y="41"/>
                  </a:lnTo>
                  <a:lnTo>
                    <a:pt x="746" y="46"/>
                  </a:lnTo>
                  <a:lnTo>
                    <a:pt x="738" y="55"/>
                  </a:lnTo>
                  <a:lnTo>
                    <a:pt x="731" y="60"/>
                  </a:lnTo>
                  <a:lnTo>
                    <a:pt x="724" y="55"/>
                  </a:lnTo>
                  <a:lnTo>
                    <a:pt x="731" y="46"/>
                  </a:lnTo>
                  <a:lnTo>
                    <a:pt x="734" y="38"/>
                  </a:lnTo>
                  <a:lnTo>
                    <a:pt x="724" y="38"/>
                  </a:lnTo>
                  <a:lnTo>
                    <a:pt x="717" y="41"/>
                  </a:lnTo>
                  <a:lnTo>
                    <a:pt x="712" y="31"/>
                  </a:lnTo>
                  <a:lnTo>
                    <a:pt x="722" y="27"/>
                  </a:lnTo>
                  <a:lnTo>
                    <a:pt x="727" y="15"/>
                  </a:lnTo>
                  <a:lnTo>
                    <a:pt x="727" y="0"/>
                  </a:lnTo>
                  <a:lnTo>
                    <a:pt x="710" y="8"/>
                  </a:lnTo>
                  <a:lnTo>
                    <a:pt x="698" y="10"/>
                  </a:lnTo>
                  <a:lnTo>
                    <a:pt x="691" y="19"/>
                  </a:lnTo>
                  <a:lnTo>
                    <a:pt x="691" y="27"/>
                  </a:lnTo>
                  <a:lnTo>
                    <a:pt x="686" y="34"/>
                  </a:lnTo>
                  <a:lnTo>
                    <a:pt x="686" y="43"/>
                  </a:lnTo>
                  <a:lnTo>
                    <a:pt x="665" y="48"/>
                  </a:lnTo>
                  <a:lnTo>
                    <a:pt x="658" y="53"/>
                  </a:lnTo>
                  <a:lnTo>
                    <a:pt x="648" y="62"/>
                  </a:lnTo>
                  <a:lnTo>
                    <a:pt x="639" y="58"/>
                  </a:lnTo>
                  <a:lnTo>
                    <a:pt x="612" y="50"/>
                  </a:lnTo>
                  <a:lnTo>
                    <a:pt x="601" y="41"/>
                  </a:lnTo>
                  <a:lnTo>
                    <a:pt x="591" y="41"/>
                  </a:lnTo>
                  <a:lnTo>
                    <a:pt x="572" y="46"/>
                  </a:lnTo>
                  <a:lnTo>
                    <a:pt x="565" y="53"/>
                  </a:lnTo>
                  <a:lnTo>
                    <a:pt x="563" y="65"/>
                  </a:lnTo>
                  <a:lnTo>
                    <a:pt x="551" y="74"/>
                  </a:lnTo>
                  <a:lnTo>
                    <a:pt x="546" y="69"/>
                  </a:lnTo>
                  <a:lnTo>
                    <a:pt x="548" y="60"/>
                  </a:lnTo>
                  <a:lnTo>
                    <a:pt x="551" y="55"/>
                  </a:lnTo>
                  <a:lnTo>
                    <a:pt x="541" y="50"/>
                  </a:lnTo>
                  <a:lnTo>
                    <a:pt x="532" y="50"/>
                  </a:lnTo>
                  <a:lnTo>
                    <a:pt x="510" y="48"/>
                  </a:lnTo>
                  <a:lnTo>
                    <a:pt x="510" y="46"/>
                  </a:lnTo>
                  <a:lnTo>
                    <a:pt x="520" y="41"/>
                  </a:lnTo>
                  <a:lnTo>
                    <a:pt x="522" y="34"/>
                  </a:lnTo>
                  <a:lnTo>
                    <a:pt x="510" y="34"/>
                  </a:lnTo>
                  <a:lnTo>
                    <a:pt x="491" y="27"/>
                  </a:lnTo>
                  <a:lnTo>
                    <a:pt x="482" y="24"/>
                  </a:lnTo>
                  <a:lnTo>
                    <a:pt x="468" y="27"/>
                  </a:lnTo>
                  <a:lnTo>
                    <a:pt x="463" y="27"/>
                  </a:lnTo>
                  <a:lnTo>
                    <a:pt x="460" y="19"/>
                  </a:lnTo>
                  <a:lnTo>
                    <a:pt x="451" y="15"/>
                  </a:lnTo>
                  <a:lnTo>
                    <a:pt x="430" y="19"/>
                  </a:lnTo>
                  <a:lnTo>
                    <a:pt x="413" y="29"/>
                  </a:lnTo>
                  <a:lnTo>
                    <a:pt x="408" y="29"/>
                  </a:lnTo>
                  <a:lnTo>
                    <a:pt x="401" y="24"/>
                  </a:lnTo>
                  <a:lnTo>
                    <a:pt x="377" y="27"/>
                  </a:lnTo>
                  <a:lnTo>
                    <a:pt x="375" y="34"/>
                  </a:lnTo>
                  <a:lnTo>
                    <a:pt x="370" y="36"/>
                  </a:lnTo>
                  <a:lnTo>
                    <a:pt x="363" y="34"/>
                  </a:lnTo>
                  <a:lnTo>
                    <a:pt x="363" y="27"/>
                  </a:lnTo>
                  <a:lnTo>
                    <a:pt x="356" y="22"/>
                  </a:lnTo>
                  <a:lnTo>
                    <a:pt x="344" y="22"/>
                  </a:lnTo>
                  <a:lnTo>
                    <a:pt x="335" y="19"/>
                  </a:lnTo>
                  <a:lnTo>
                    <a:pt x="330" y="15"/>
                  </a:lnTo>
                  <a:lnTo>
                    <a:pt x="323" y="17"/>
                  </a:lnTo>
                  <a:lnTo>
                    <a:pt x="313" y="17"/>
                  </a:lnTo>
                  <a:lnTo>
                    <a:pt x="308" y="12"/>
                  </a:lnTo>
                  <a:lnTo>
                    <a:pt x="299" y="12"/>
                  </a:lnTo>
                  <a:lnTo>
                    <a:pt x="297" y="15"/>
                  </a:lnTo>
                  <a:lnTo>
                    <a:pt x="289" y="12"/>
                  </a:lnTo>
                  <a:lnTo>
                    <a:pt x="289" y="5"/>
                  </a:lnTo>
                  <a:lnTo>
                    <a:pt x="280" y="0"/>
                  </a:ln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0297;p275">
              <a:extLst>
                <a:ext uri="{FF2B5EF4-FFF2-40B4-BE49-F238E27FC236}">
                  <a16:creationId xmlns:a16="http://schemas.microsoft.com/office/drawing/2014/main" id="{AEF9FD58-81C6-162D-2093-F7C3EECD61F7}"/>
                </a:ext>
              </a:extLst>
            </p:cNvPr>
            <p:cNvSpPr/>
            <p:nvPr/>
          </p:nvSpPr>
          <p:spPr>
            <a:xfrm>
              <a:off x="5166251" y="1856749"/>
              <a:ext cx="4302880" cy="3392650"/>
            </a:xfrm>
            <a:custGeom>
              <a:avLst/>
              <a:gdLst/>
              <a:ahLst/>
              <a:cxnLst/>
              <a:rect l="l" t="t" r="r" b="b"/>
              <a:pathLst>
                <a:path w="766" h="603" extrusionOk="0">
                  <a:moveTo>
                    <a:pt x="258" y="430"/>
                  </a:moveTo>
                  <a:cubicBezTo>
                    <a:pt x="255" y="429"/>
                    <a:pt x="255" y="429"/>
                    <a:pt x="255" y="429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55" y="419"/>
                    <a:pt x="255" y="419"/>
                    <a:pt x="255" y="419"/>
                  </a:cubicBezTo>
                  <a:cubicBezTo>
                    <a:pt x="259" y="417"/>
                    <a:pt x="259" y="417"/>
                    <a:pt x="259" y="417"/>
                  </a:cubicBezTo>
                  <a:cubicBezTo>
                    <a:pt x="265" y="417"/>
                    <a:pt x="265" y="417"/>
                    <a:pt x="265" y="417"/>
                  </a:cubicBezTo>
                  <a:cubicBezTo>
                    <a:pt x="269" y="418"/>
                    <a:pt x="269" y="418"/>
                    <a:pt x="269" y="418"/>
                  </a:cubicBezTo>
                  <a:cubicBezTo>
                    <a:pt x="270" y="418"/>
                    <a:pt x="270" y="418"/>
                    <a:pt x="270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9" y="423"/>
                    <a:pt x="269" y="423"/>
                    <a:pt x="269" y="423"/>
                  </a:cubicBezTo>
                  <a:cubicBezTo>
                    <a:pt x="267" y="427"/>
                    <a:pt x="267" y="427"/>
                    <a:pt x="267" y="427"/>
                  </a:cubicBezTo>
                  <a:cubicBezTo>
                    <a:pt x="266" y="430"/>
                    <a:pt x="266" y="430"/>
                    <a:pt x="266" y="430"/>
                  </a:cubicBezTo>
                  <a:cubicBezTo>
                    <a:pt x="264" y="432"/>
                    <a:pt x="264" y="432"/>
                    <a:pt x="264" y="432"/>
                  </a:cubicBezTo>
                  <a:cubicBezTo>
                    <a:pt x="261" y="430"/>
                    <a:pt x="261" y="430"/>
                    <a:pt x="261" y="430"/>
                  </a:cubicBezTo>
                  <a:cubicBezTo>
                    <a:pt x="258" y="430"/>
                    <a:pt x="258" y="430"/>
                    <a:pt x="258" y="430"/>
                  </a:cubicBezTo>
                  <a:moveTo>
                    <a:pt x="368" y="185"/>
                  </a:moveTo>
                  <a:cubicBezTo>
                    <a:pt x="364" y="183"/>
                    <a:pt x="364" y="183"/>
                    <a:pt x="364" y="183"/>
                  </a:cubicBezTo>
                  <a:cubicBezTo>
                    <a:pt x="363" y="180"/>
                    <a:pt x="363" y="180"/>
                    <a:pt x="363" y="180"/>
                  </a:cubicBezTo>
                  <a:cubicBezTo>
                    <a:pt x="364" y="178"/>
                    <a:pt x="364" y="178"/>
                    <a:pt x="364" y="178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365" y="172"/>
                    <a:pt x="365" y="172"/>
                    <a:pt x="365" y="172"/>
                  </a:cubicBezTo>
                  <a:cubicBezTo>
                    <a:pt x="366" y="170"/>
                    <a:pt x="366" y="170"/>
                    <a:pt x="366" y="170"/>
                  </a:cubicBezTo>
                  <a:cubicBezTo>
                    <a:pt x="368" y="170"/>
                    <a:pt x="368" y="170"/>
                    <a:pt x="368" y="170"/>
                  </a:cubicBezTo>
                  <a:cubicBezTo>
                    <a:pt x="368" y="167"/>
                    <a:pt x="368" y="167"/>
                    <a:pt x="368" y="167"/>
                  </a:cubicBezTo>
                  <a:cubicBezTo>
                    <a:pt x="369" y="165"/>
                    <a:pt x="369" y="165"/>
                    <a:pt x="369" y="165"/>
                  </a:cubicBezTo>
                  <a:cubicBezTo>
                    <a:pt x="370" y="164"/>
                    <a:pt x="370" y="164"/>
                    <a:pt x="370" y="164"/>
                  </a:cubicBezTo>
                  <a:cubicBezTo>
                    <a:pt x="372" y="164"/>
                    <a:pt x="372" y="164"/>
                    <a:pt x="372" y="164"/>
                  </a:cubicBezTo>
                  <a:cubicBezTo>
                    <a:pt x="373" y="165"/>
                    <a:pt x="373" y="165"/>
                    <a:pt x="373" y="165"/>
                  </a:cubicBezTo>
                  <a:cubicBezTo>
                    <a:pt x="374" y="167"/>
                    <a:pt x="374" y="167"/>
                    <a:pt x="374" y="167"/>
                  </a:cubicBezTo>
                  <a:cubicBezTo>
                    <a:pt x="374" y="169"/>
                    <a:pt x="374" y="169"/>
                    <a:pt x="374" y="169"/>
                  </a:cubicBezTo>
                  <a:cubicBezTo>
                    <a:pt x="373" y="171"/>
                    <a:pt x="373" y="171"/>
                    <a:pt x="373" y="171"/>
                  </a:cubicBezTo>
                  <a:cubicBezTo>
                    <a:pt x="374" y="172"/>
                    <a:pt x="374" y="172"/>
                    <a:pt x="374" y="172"/>
                  </a:cubicBezTo>
                  <a:cubicBezTo>
                    <a:pt x="376" y="173"/>
                    <a:pt x="376" y="173"/>
                    <a:pt x="376" y="173"/>
                  </a:cubicBezTo>
                  <a:cubicBezTo>
                    <a:pt x="378" y="173"/>
                    <a:pt x="378" y="173"/>
                    <a:pt x="378" y="173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77" y="177"/>
                    <a:pt x="377" y="177"/>
                    <a:pt x="377" y="177"/>
                  </a:cubicBezTo>
                  <a:cubicBezTo>
                    <a:pt x="375" y="179"/>
                    <a:pt x="375" y="179"/>
                    <a:pt x="375" y="179"/>
                  </a:cubicBezTo>
                  <a:cubicBezTo>
                    <a:pt x="373" y="182"/>
                    <a:pt x="373" y="182"/>
                    <a:pt x="373" y="182"/>
                  </a:cubicBezTo>
                  <a:cubicBezTo>
                    <a:pt x="371" y="185"/>
                    <a:pt x="371" y="185"/>
                    <a:pt x="371" y="185"/>
                  </a:cubicBezTo>
                  <a:cubicBezTo>
                    <a:pt x="368" y="185"/>
                    <a:pt x="368" y="185"/>
                    <a:pt x="368" y="185"/>
                  </a:cubicBezTo>
                  <a:moveTo>
                    <a:pt x="432" y="173"/>
                  </a:moveTo>
                  <a:cubicBezTo>
                    <a:pt x="430" y="172"/>
                    <a:pt x="430" y="172"/>
                    <a:pt x="430" y="172"/>
                  </a:cubicBezTo>
                  <a:cubicBezTo>
                    <a:pt x="430" y="169"/>
                    <a:pt x="430" y="169"/>
                    <a:pt x="430" y="169"/>
                  </a:cubicBezTo>
                  <a:cubicBezTo>
                    <a:pt x="432" y="164"/>
                    <a:pt x="432" y="164"/>
                    <a:pt x="432" y="164"/>
                  </a:cubicBezTo>
                  <a:cubicBezTo>
                    <a:pt x="435" y="164"/>
                    <a:pt x="435" y="164"/>
                    <a:pt x="435" y="164"/>
                  </a:cubicBezTo>
                  <a:cubicBezTo>
                    <a:pt x="439" y="163"/>
                    <a:pt x="439" y="163"/>
                    <a:pt x="439" y="163"/>
                  </a:cubicBezTo>
                  <a:cubicBezTo>
                    <a:pt x="444" y="163"/>
                    <a:pt x="444" y="163"/>
                    <a:pt x="444" y="163"/>
                  </a:cubicBezTo>
                  <a:cubicBezTo>
                    <a:pt x="447" y="165"/>
                    <a:pt x="447" y="165"/>
                    <a:pt x="447" y="165"/>
                  </a:cubicBezTo>
                  <a:cubicBezTo>
                    <a:pt x="447" y="168"/>
                    <a:pt x="447" y="168"/>
                    <a:pt x="447" y="168"/>
                  </a:cubicBezTo>
                  <a:cubicBezTo>
                    <a:pt x="445" y="169"/>
                    <a:pt x="445" y="169"/>
                    <a:pt x="445" y="169"/>
                  </a:cubicBezTo>
                  <a:cubicBezTo>
                    <a:pt x="440" y="168"/>
                    <a:pt x="440" y="168"/>
                    <a:pt x="440" y="168"/>
                  </a:cubicBezTo>
                  <a:cubicBezTo>
                    <a:pt x="436" y="168"/>
                    <a:pt x="436" y="168"/>
                    <a:pt x="436" y="168"/>
                  </a:cubicBezTo>
                  <a:cubicBezTo>
                    <a:pt x="433" y="170"/>
                    <a:pt x="433" y="170"/>
                    <a:pt x="433" y="170"/>
                  </a:cubicBezTo>
                  <a:cubicBezTo>
                    <a:pt x="432" y="173"/>
                    <a:pt x="432" y="173"/>
                    <a:pt x="432" y="173"/>
                  </a:cubicBezTo>
                  <a:moveTo>
                    <a:pt x="311" y="181"/>
                  </a:moveTo>
                  <a:cubicBezTo>
                    <a:pt x="312" y="177"/>
                    <a:pt x="312" y="177"/>
                    <a:pt x="312" y="177"/>
                  </a:cubicBezTo>
                  <a:cubicBezTo>
                    <a:pt x="313" y="173"/>
                    <a:pt x="313" y="173"/>
                    <a:pt x="313" y="173"/>
                  </a:cubicBezTo>
                  <a:cubicBezTo>
                    <a:pt x="315" y="169"/>
                    <a:pt x="315" y="169"/>
                    <a:pt x="315" y="169"/>
                  </a:cubicBezTo>
                  <a:cubicBezTo>
                    <a:pt x="319" y="167"/>
                    <a:pt x="319" y="167"/>
                    <a:pt x="319" y="167"/>
                  </a:cubicBezTo>
                  <a:cubicBezTo>
                    <a:pt x="322" y="165"/>
                    <a:pt x="322" y="165"/>
                    <a:pt x="322" y="165"/>
                  </a:cubicBezTo>
                  <a:cubicBezTo>
                    <a:pt x="328" y="164"/>
                    <a:pt x="328" y="164"/>
                    <a:pt x="328" y="164"/>
                  </a:cubicBezTo>
                  <a:cubicBezTo>
                    <a:pt x="333" y="162"/>
                    <a:pt x="333" y="162"/>
                    <a:pt x="333" y="162"/>
                  </a:cubicBezTo>
                  <a:cubicBezTo>
                    <a:pt x="338" y="161"/>
                    <a:pt x="338" y="161"/>
                    <a:pt x="338" y="161"/>
                  </a:cubicBezTo>
                  <a:cubicBezTo>
                    <a:pt x="341" y="163"/>
                    <a:pt x="341" y="163"/>
                    <a:pt x="341" y="163"/>
                  </a:cubicBezTo>
                  <a:cubicBezTo>
                    <a:pt x="341" y="166"/>
                    <a:pt x="341" y="166"/>
                    <a:pt x="341" y="166"/>
                  </a:cubicBezTo>
                  <a:cubicBezTo>
                    <a:pt x="341" y="168"/>
                    <a:pt x="341" y="168"/>
                    <a:pt x="341" y="168"/>
                  </a:cubicBezTo>
                  <a:cubicBezTo>
                    <a:pt x="342" y="169"/>
                    <a:pt x="342" y="169"/>
                    <a:pt x="342" y="169"/>
                  </a:cubicBezTo>
                  <a:cubicBezTo>
                    <a:pt x="342" y="171"/>
                    <a:pt x="342" y="171"/>
                    <a:pt x="342" y="171"/>
                  </a:cubicBezTo>
                  <a:cubicBezTo>
                    <a:pt x="341" y="173"/>
                    <a:pt x="341" y="173"/>
                    <a:pt x="341" y="173"/>
                  </a:cubicBezTo>
                  <a:cubicBezTo>
                    <a:pt x="338" y="174"/>
                    <a:pt x="338" y="174"/>
                    <a:pt x="338" y="174"/>
                  </a:cubicBezTo>
                  <a:cubicBezTo>
                    <a:pt x="336" y="173"/>
                    <a:pt x="336" y="173"/>
                    <a:pt x="336" y="173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1" y="175"/>
                    <a:pt x="331" y="175"/>
                    <a:pt x="331" y="175"/>
                  </a:cubicBezTo>
                  <a:cubicBezTo>
                    <a:pt x="329" y="176"/>
                    <a:pt x="329" y="176"/>
                    <a:pt x="329" y="176"/>
                  </a:cubicBezTo>
                  <a:cubicBezTo>
                    <a:pt x="329" y="178"/>
                    <a:pt x="329" y="178"/>
                    <a:pt x="329" y="178"/>
                  </a:cubicBezTo>
                  <a:cubicBezTo>
                    <a:pt x="332" y="179"/>
                    <a:pt x="332" y="179"/>
                    <a:pt x="332" y="179"/>
                  </a:cubicBezTo>
                  <a:cubicBezTo>
                    <a:pt x="336" y="181"/>
                    <a:pt x="336" y="181"/>
                    <a:pt x="336" y="181"/>
                  </a:cubicBezTo>
                  <a:cubicBezTo>
                    <a:pt x="339" y="185"/>
                    <a:pt x="339" y="185"/>
                    <a:pt x="339" y="185"/>
                  </a:cubicBezTo>
                  <a:cubicBezTo>
                    <a:pt x="340" y="188"/>
                    <a:pt x="340" y="188"/>
                    <a:pt x="340" y="188"/>
                  </a:cubicBezTo>
                  <a:cubicBezTo>
                    <a:pt x="338" y="192"/>
                    <a:pt x="338" y="192"/>
                    <a:pt x="338" y="192"/>
                  </a:cubicBezTo>
                  <a:cubicBezTo>
                    <a:pt x="338" y="194"/>
                    <a:pt x="338" y="194"/>
                    <a:pt x="338" y="194"/>
                  </a:cubicBezTo>
                  <a:cubicBezTo>
                    <a:pt x="340" y="195"/>
                    <a:pt x="340" y="195"/>
                    <a:pt x="340" y="195"/>
                  </a:cubicBezTo>
                  <a:cubicBezTo>
                    <a:pt x="342" y="194"/>
                    <a:pt x="342" y="194"/>
                    <a:pt x="342" y="194"/>
                  </a:cubicBezTo>
                  <a:cubicBezTo>
                    <a:pt x="343" y="192"/>
                    <a:pt x="343" y="192"/>
                    <a:pt x="343" y="192"/>
                  </a:cubicBezTo>
                  <a:cubicBezTo>
                    <a:pt x="343" y="189"/>
                    <a:pt x="343" y="189"/>
                    <a:pt x="343" y="189"/>
                  </a:cubicBezTo>
                  <a:cubicBezTo>
                    <a:pt x="345" y="188"/>
                    <a:pt x="345" y="188"/>
                    <a:pt x="345" y="188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51" y="194"/>
                    <a:pt x="351" y="194"/>
                    <a:pt x="351" y="194"/>
                  </a:cubicBezTo>
                  <a:cubicBezTo>
                    <a:pt x="352" y="196"/>
                    <a:pt x="352" y="196"/>
                    <a:pt x="352" y="196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46" y="198"/>
                    <a:pt x="346" y="198"/>
                    <a:pt x="346" y="198"/>
                  </a:cubicBezTo>
                  <a:cubicBezTo>
                    <a:pt x="343" y="199"/>
                    <a:pt x="343" y="199"/>
                    <a:pt x="343" y="199"/>
                  </a:cubicBezTo>
                  <a:cubicBezTo>
                    <a:pt x="342" y="200"/>
                    <a:pt x="342" y="200"/>
                    <a:pt x="342" y="200"/>
                  </a:cubicBezTo>
                  <a:cubicBezTo>
                    <a:pt x="342" y="202"/>
                    <a:pt x="342" y="202"/>
                    <a:pt x="342" y="202"/>
                  </a:cubicBezTo>
                  <a:cubicBezTo>
                    <a:pt x="343" y="205"/>
                    <a:pt x="343" y="205"/>
                    <a:pt x="343" y="205"/>
                  </a:cubicBezTo>
                  <a:cubicBezTo>
                    <a:pt x="345" y="205"/>
                    <a:pt x="345" y="205"/>
                    <a:pt x="345" y="205"/>
                  </a:cubicBezTo>
                  <a:cubicBezTo>
                    <a:pt x="347" y="207"/>
                    <a:pt x="347" y="207"/>
                    <a:pt x="347" y="207"/>
                  </a:cubicBezTo>
                  <a:cubicBezTo>
                    <a:pt x="347" y="209"/>
                    <a:pt x="347" y="209"/>
                    <a:pt x="347" y="209"/>
                  </a:cubicBezTo>
                  <a:cubicBezTo>
                    <a:pt x="348" y="213"/>
                    <a:pt x="348" y="213"/>
                    <a:pt x="348" y="213"/>
                  </a:cubicBezTo>
                  <a:cubicBezTo>
                    <a:pt x="350" y="215"/>
                    <a:pt x="350" y="215"/>
                    <a:pt x="350" y="215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22"/>
                    <a:pt x="350" y="222"/>
                    <a:pt x="350" y="222"/>
                  </a:cubicBezTo>
                  <a:cubicBezTo>
                    <a:pt x="346" y="223"/>
                    <a:pt x="346" y="223"/>
                    <a:pt x="346" y="223"/>
                  </a:cubicBezTo>
                  <a:cubicBezTo>
                    <a:pt x="342" y="223"/>
                    <a:pt x="342" y="223"/>
                    <a:pt x="342" y="223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5" y="223"/>
                    <a:pt x="335" y="223"/>
                    <a:pt x="335" y="223"/>
                  </a:cubicBezTo>
                  <a:cubicBezTo>
                    <a:pt x="332" y="224"/>
                    <a:pt x="332" y="224"/>
                    <a:pt x="332" y="224"/>
                  </a:cubicBezTo>
                  <a:cubicBezTo>
                    <a:pt x="330" y="224"/>
                    <a:pt x="330" y="224"/>
                    <a:pt x="330" y="224"/>
                  </a:cubicBezTo>
                  <a:cubicBezTo>
                    <a:pt x="328" y="223"/>
                    <a:pt x="328" y="223"/>
                    <a:pt x="328" y="223"/>
                  </a:cubicBezTo>
                  <a:cubicBezTo>
                    <a:pt x="328" y="221"/>
                    <a:pt x="328" y="221"/>
                    <a:pt x="328" y="221"/>
                  </a:cubicBezTo>
                  <a:cubicBezTo>
                    <a:pt x="327" y="218"/>
                    <a:pt x="327" y="218"/>
                    <a:pt x="327" y="218"/>
                  </a:cubicBezTo>
                  <a:cubicBezTo>
                    <a:pt x="327" y="214"/>
                    <a:pt x="327" y="214"/>
                    <a:pt x="327" y="214"/>
                  </a:cubicBezTo>
                  <a:cubicBezTo>
                    <a:pt x="326" y="211"/>
                    <a:pt x="326" y="211"/>
                    <a:pt x="326" y="211"/>
                  </a:cubicBezTo>
                  <a:cubicBezTo>
                    <a:pt x="327" y="208"/>
                    <a:pt x="327" y="208"/>
                    <a:pt x="327" y="208"/>
                  </a:cubicBezTo>
                  <a:cubicBezTo>
                    <a:pt x="329" y="207"/>
                    <a:pt x="329" y="207"/>
                    <a:pt x="329" y="207"/>
                  </a:cubicBezTo>
                  <a:cubicBezTo>
                    <a:pt x="329" y="206"/>
                    <a:pt x="329" y="206"/>
                    <a:pt x="329" y="206"/>
                  </a:cubicBezTo>
                  <a:cubicBezTo>
                    <a:pt x="328" y="204"/>
                    <a:pt x="328" y="204"/>
                    <a:pt x="328" y="204"/>
                  </a:cubicBezTo>
                  <a:cubicBezTo>
                    <a:pt x="329" y="202"/>
                    <a:pt x="329" y="202"/>
                    <a:pt x="329" y="202"/>
                  </a:cubicBezTo>
                  <a:cubicBezTo>
                    <a:pt x="330" y="200"/>
                    <a:pt x="330" y="200"/>
                    <a:pt x="330" y="200"/>
                  </a:cubicBezTo>
                  <a:cubicBezTo>
                    <a:pt x="332" y="198"/>
                    <a:pt x="332" y="198"/>
                    <a:pt x="332" y="198"/>
                  </a:cubicBezTo>
                  <a:cubicBezTo>
                    <a:pt x="330" y="196"/>
                    <a:pt x="330" y="196"/>
                    <a:pt x="330" y="196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5" y="193"/>
                    <a:pt x="325" y="193"/>
                    <a:pt x="325" y="193"/>
                  </a:cubicBezTo>
                  <a:cubicBezTo>
                    <a:pt x="321" y="191"/>
                    <a:pt x="321" y="191"/>
                    <a:pt x="321" y="191"/>
                  </a:cubicBezTo>
                  <a:cubicBezTo>
                    <a:pt x="319" y="187"/>
                    <a:pt x="319" y="187"/>
                    <a:pt x="319" y="187"/>
                  </a:cubicBezTo>
                  <a:cubicBezTo>
                    <a:pt x="318" y="183"/>
                    <a:pt x="318" y="183"/>
                    <a:pt x="318" y="183"/>
                  </a:cubicBezTo>
                  <a:cubicBezTo>
                    <a:pt x="318" y="181"/>
                    <a:pt x="318" y="181"/>
                    <a:pt x="318" y="181"/>
                  </a:cubicBezTo>
                  <a:cubicBezTo>
                    <a:pt x="316" y="180"/>
                    <a:pt x="316" y="180"/>
                    <a:pt x="316" y="180"/>
                  </a:cubicBezTo>
                  <a:cubicBezTo>
                    <a:pt x="314" y="181"/>
                    <a:pt x="314" y="181"/>
                    <a:pt x="314" y="181"/>
                  </a:cubicBezTo>
                  <a:cubicBezTo>
                    <a:pt x="311" y="181"/>
                    <a:pt x="311" y="181"/>
                    <a:pt x="311" y="181"/>
                  </a:cubicBezTo>
                  <a:moveTo>
                    <a:pt x="537" y="141"/>
                  </a:moveTo>
                  <a:cubicBezTo>
                    <a:pt x="536" y="139"/>
                    <a:pt x="536" y="139"/>
                    <a:pt x="536" y="139"/>
                  </a:cubicBezTo>
                  <a:cubicBezTo>
                    <a:pt x="537" y="135"/>
                    <a:pt x="537" y="135"/>
                    <a:pt x="537" y="135"/>
                  </a:cubicBezTo>
                  <a:cubicBezTo>
                    <a:pt x="541" y="132"/>
                    <a:pt x="541" y="132"/>
                    <a:pt x="541" y="132"/>
                  </a:cubicBezTo>
                  <a:cubicBezTo>
                    <a:pt x="542" y="130"/>
                    <a:pt x="542" y="130"/>
                    <a:pt x="542" y="130"/>
                  </a:cubicBezTo>
                  <a:cubicBezTo>
                    <a:pt x="542" y="126"/>
                    <a:pt x="542" y="126"/>
                    <a:pt x="542" y="126"/>
                  </a:cubicBezTo>
                  <a:cubicBezTo>
                    <a:pt x="542" y="123"/>
                    <a:pt x="542" y="123"/>
                    <a:pt x="542" y="123"/>
                  </a:cubicBezTo>
                  <a:cubicBezTo>
                    <a:pt x="543" y="119"/>
                    <a:pt x="543" y="119"/>
                    <a:pt x="543" y="119"/>
                  </a:cubicBezTo>
                  <a:cubicBezTo>
                    <a:pt x="544" y="117"/>
                    <a:pt x="544" y="117"/>
                    <a:pt x="544" y="117"/>
                  </a:cubicBezTo>
                  <a:cubicBezTo>
                    <a:pt x="546" y="117"/>
                    <a:pt x="546" y="117"/>
                    <a:pt x="546" y="117"/>
                  </a:cubicBezTo>
                  <a:cubicBezTo>
                    <a:pt x="547" y="119"/>
                    <a:pt x="547" y="119"/>
                    <a:pt x="547" y="119"/>
                  </a:cubicBezTo>
                  <a:cubicBezTo>
                    <a:pt x="548" y="125"/>
                    <a:pt x="548" y="125"/>
                    <a:pt x="548" y="125"/>
                  </a:cubicBezTo>
                  <a:cubicBezTo>
                    <a:pt x="547" y="130"/>
                    <a:pt x="547" y="130"/>
                    <a:pt x="547" y="130"/>
                  </a:cubicBezTo>
                  <a:cubicBezTo>
                    <a:pt x="544" y="137"/>
                    <a:pt x="544" y="137"/>
                    <a:pt x="544" y="137"/>
                  </a:cubicBezTo>
                  <a:cubicBezTo>
                    <a:pt x="541" y="140"/>
                    <a:pt x="541" y="140"/>
                    <a:pt x="541" y="140"/>
                  </a:cubicBezTo>
                  <a:cubicBezTo>
                    <a:pt x="537" y="141"/>
                    <a:pt x="537" y="141"/>
                    <a:pt x="537" y="141"/>
                  </a:cubicBezTo>
                  <a:moveTo>
                    <a:pt x="422" y="0"/>
                  </a:moveTo>
                  <a:cubicBezTo>
                    <a:pt x="415" y="0"/>
                    <a:pt x="415" y="0"/>
                    <a:pt x="415" y="0"/>
                  </a:cubicBezTo>
                  <a:cubicBezTo>
                    <a:pt x="412" y="2"/>
                    <a:pt x="412" y="2"/>
                    <a:pt x="412" y="2"/>
                  </a:cubicBezTo>
                  <a:cubicBezTo>
                    <a:pt x="415" y="3"/>
                    <a:pt x="415" y="3"/>
                    <a:pt x="415" y="3"/>
                  </a:cubicBezTo>
                  <a:cubicBezTo>
                    <a:pt x="414" y="5"/>
                    <a:pt x="414" y="5"/>
                    <a:pt x="414" y="5"/>
                  </a:cubicBezTo>
                  <a:cubicBezTo>
                    <a:pt x="408" y="5"/>
                    <a:pt x="408" y="5"/>
                    <a:pt x="408" y="5"/>
                  </a:cubicBezTo>
                  <a:cubicBezTo>
                    <a:pt x="405" y="6"/>
                    <a:pt x="405" y="6"/>
                    <a:pt x="405" y="6"/>
                  </a:cubicBezTo>
                  <a:cubicBezTo>
                    <a:pt x="402" y="5"/>
                    <a:pt x="402" y="5"/>
                    <a:pt x="402" y="5"/>
                  </a:cubicBezTo>
                  <a:cubicBezTo>
                    <a:pt x="399" y="5"/>
                    <a:pt x="399" y="5"/>
                    <a:pt x="399" y="5"/>
                  </a:cubicBezTo>
                  <a:cubicBezTo>
                    <a:pt x="397" y="6"/>
                    <a:pt x="397" y="6"/>
                    <a:pt x="397" y="6"/>
                  </a:cubicBezTo>
                  <a:cubicBezTo>
                    <a:pt x="392" y="8"/>
                    <a:pt x="392" y="8"/>
                    <a:pt x="392" y="8"/>
                  </a:cubicBezTo>
                  <a:cubicBezTo>
                    <a:pt x="389" y="9"/>
                    <a:pt x="389" y="9"/>
                    <a:pt x="389" y="9"/>
                  </a:cubicBezTo>
                  <a:cubicBezTo>
                    <a:pt x="389" y="12"/>
                    <a:pt x="389" y="12"/>
                    <a:pt x="389" y="12"/>
                  </a:cubicBezTo>
                  <a:cubicBezTo>
                    <a:pt x="392" y="14"/>
                    <a:pt x="392" y="14"/>
                    <a:pt x="392" y="14"/>
                  </a:cubicBezTo>
                  <a:cubicBezTo>
                    <a:pt x="396" y="15"/>
                    <a:pt x="396" y="15"/>
                    <a:pt x="396" y="15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1" y="17"/>
                    <a:pt x="391" y="17"/>
                    <a:pt x="391" y="17"/>
                  </a:cubicBezTo>
                  <a:cubicBezTo>
                    <a:pt x="388" y="15"/>
                    <a:pt x="388" y="15"/>
                    <a:pt x="388" y="15"/>
                  </a:cubicBezTo>
                  <a:cubicBezTo>
                    <a:pt x="383" y="16"/>
                    <a:pt x="383" y="16"/>
                    <a:pt x="383" y="16"/>
                  </a:cubicBezTo>
                  <a:cubicBezTo>
                    <a:pt x="380" y="18"/>
                    <a:pt x="380" y="18"/>
                    <a:pt x="380" y="18"/>
                  </a:cubicBezTo>
                  <a:cubicBezTo>
                    <a:pt x="380" y="21"/>
                    <a:pt x="380" y="21"/>
                    <a:pt x="380" y="21"/>
                  </a:cubicBezTo>
                  <a:cubicBezTo>
                    <a:pt x="386" y="24"/>
                    <a:pt x="386" y="24"/>
                    <a:pt x="386" y="24"/>
                  </a:cubicBezTo>
                  <a:cubicBezTo>
                    <a:pt x="393" y="26"/>
                    <a:pt x="393" y="26"/>
                    <a:pt x="393" y="26"/>
                  </a:cubicBezTo>
                  <a:cubicBezTo>
                    <a:pt x="392" y="28"/>
                    <a:pt x="392" y="28"/>
                    <a:pt x="392" y="28"/>
                  </a:cubicBezTo>
                  <a:cubicBezTo>
                    <a:pt x="388" y="29"/>
                    <a:pt x="388" y="29"/>
                    <a:pt x="388" y="29"/>
                  </a:cubicBezTo>
                  <a:cubicBezTo>
                    <a:pt x="383" y="26"/>
                    <a:pt x="383" y="26"/>
                    <a:pt x="383" y="26"/>
                  </a:cubicBezTo>
                  <a:cubicBezTo>
                    <a:pt x="379" y="23"/>
                    <a:pt x="379" y="23"/>
                    <a:pt x="379" y="23"/>
                  </a:cubicBezTo>
                  <a:cubicBezTo>
                    <a:pt x="376" y="26"/>
                    <a:pt x="376" y="26"/>
                    <a:pt x="376" y="26"/>
                  </a:cubicBezTo>
                  <a:cubicBezTo>
                    <a:pt x="377" y="29"/>
                    <a:pt x="377" y="29"/>
                    <a:pt x="377" y="29"/>
                  </a:cubicBezTo>
                  <a:cubicBezTo>
                    <a:pt x="380" y="30"/>
                    <a:pt x="380" y="30"/>
                    <a:pt x="380" y="30"/>
                  </a:cubicBezTo>
                  <a:cubicBezTo>
                    <a:pt x="384" y="33"/>
                    <a:pt x="384" y="33"/>
                    <a:pt x="384" y="33"/>
                  </a:cubicBezTo>
                  <a:cubicBezTo>
                    <a:pt x="378" y="34"/>
                    <a:pt x="378" y="34"/>
                    <a:pt x="378" y="34"/>
                  </a:cubicBezTo>
                  <a:cubicBezTo>
                    <a:pt x="373" y="30"/>
                    <a:pt x="373" y="30"/>
                    <a:pt x="373" y="30"/>
                  </a:cubicBezTo>
                  <a:cubicBezTo>
                    <a:pt x="370" y="26"/>
                    <a:pt x="370" y="26"/>
                    <a:pt x="370" y="26"/>
                  </a:cubicBezTo>
                  <a:cubicBezTo>
                    <a:pt x="368" y="22"/>
                    <a:pt x="368" y="22"/>
                    <a:pt x="368" y="22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66" y="28"/>
                    <a:pt x="366" y="28"/>
                    <a:pt x="366" y="28"/>
                  </a:cubicBezTo>
                  <a:cubicBezTo>
                    <a:pt x="373" y="35"/>
                    <a:pt x="373" y="35"/>
                    <a:pt x="373" y="35"/>
                  </a:cubicBezTo>
                  <a:cubicBezTo>
                    <a:pt x="377" y="39"/>
                    <a:pt x="377" y="39"/>
                    <a:pt x="377" y="39"/>
                  </a:cubicBezTo>
                  <a:cubicBezTo>
                    <a:pt x="382" y="40"/>
                    <a:pt x="382" y="40"/>
                    <a:pt x="382" y="40"/>
                  </a:cubicBezTo>
                  <a:cubicBezTo>
                    <a:pt x="390" y="43"/>
                    <a:pt x="390" y="43"/>
                    <a:pt x="390" y="43"/>
                  </a:cubicBezTo>
                  <a:cubicBezTo>
                    <a:pt x="393" y="47"/>
                    <a:pt x="393" y="47"/>
                    <a:pt x="393" y="47"/>
                  </a:cubicBezTo>
                  <a:cubicBezTo>
                    <a:pt x="393" y="51"/>
                    <a:pt x="393" y="51"/>
                    <a:pt x="393" y="51"/>
                  </a:cubicBezTo>
                  <a:cubicBezTo>
                    <a:pt x="391" y="50"/>
                    <a:pt x="391" y="50"/>
                    <a:pt x="391" y="50"/>
                  </a:cubicBezTo>
                  <a:cubicBezTo>
                    <a:pt x="386" y="44"/>
                    <a:pt x="386" y="44"/>
                    <a:pt x="386" y="4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381" y="48"/>
                    <a:pt x="381" y="48"/>
                    <a:pt x="381" y="48"/>
                  </a:cubicBezTo>
                  <a:cubicBezTo>
                    <a:pt x="383" y="52"/>
                    <a:pt x="383" y="52"/>
                    <a:pt x="383" y="52"/>
                  </a:cubicBezTo>
                  <a:cubicBezTo>
                    <a:pt x="383" y="57"/>
                    <a:pt x="383" y="57"/>
                    <a:pt x="383" y="57"/>
                  </a:cubicBezTo>
                  <a:cubicBezTo>
                    <a:pt x="379" y="58"/>
                    <a:pt x="379" y="58"/>
                    <a:pt x="379" y="58"/>
                  </a:cubicBezTo>
                  <a:cubicBezTo>
                    <a:pt x="374" y="59"/>
                    <a:pt x="374" y="59"/>
                    <a:pt x="374" y="59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7" y="53"/>
                    <a:pt x="367" y="53"/>
                    <a:pt x="367" y="53"/>
                  </a:cubicBezTo>
                  <a:cubicBezTo>
                    <a:pt x="372" y="53"/>
                    <a:pt x="372" y="53"/>
                    <a:pt x="372" y="53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8" y="51"/>
                    <a:pt x="378" y="51"/>
                    <a:pt x="378" y="51"/>
                  </a:cubicBezTo>
                  <a:cubicBezTo>
                    <a:pt x="378" y="46"/>
                    <a:pt x="378" y="46"/>
                    <a:pt x="378" y="46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0" y="43"/>
                    <a:pt x="370" y="43"/>
                    <a:pt x="370" y="43"/>
                  </a:cubicBezTo>
                  <a:cubicBezTo>
                    <a:pt x="370" y="38"/>
                    <a:pt x="370" y="38"/>
                    <a:pt x="370" y="38"/>
                  </a:cubicBezTo>
                  <a:cubicBezTo>
                    <a:pt x="368" y="34"/>
                    <a:pt x="368" y="34"/>
                    <a:pt x="368" y="34"/>
                  </a:cubicBezTo>
                  <a:cubicBezTo>
                    <a:pt x="365" y="32"/>
                    <a:pt x="365" y="32"/>
                    <a:pt x="365" y="32"/>
                  </a:cubicBezTo>
                  <a:cubicBezTo>
                    <a:pt x="362" y="31"/>
                    <a:pt x="362" y="31"/>
                    <a:pt x="362" y="31"/>
                  </a:cubicBezTo>
                  <a:cubicBezTo>
                    <a:pt x="361" y="29"/>
                    <a:pt x="361" y="29"/>
                    <a:pt x="361" y="29"/>
                  </a:cubicBezTo>
                  <a:cubicBezTo>
                    <a:pt x="361" y="25"/>
                    <a:pt x="361" y="25"/>
                    <a:pt x="361" y="25"/>
                  </a:cubicBezTo>
                  <a:cubicBezTo>
                    <a:pt x="357" y="23"/>
                    <a:pt x="357" y="23"/>
                    <a:pt x="357" y="23"/>
                  </a:cubicBezTo>
                  <a:cubicBezTo>
                    <a:pt x="351" y="22"/>
                    <a:pt x="351" y="22"/>
                    <a:pt x="351" y="22"/>
                  </a:cubicBezTo>
                  <a:cubicBezTo>
                    <a:pt x="350" y="25"/>
                    <a:pt x="350" y="25"/>
                    <a:pt x="350" y="25"/>
                  </a:cubicBezTo>
                  <a:cubicBezTo>
                    <a:pt x="347" y="28"/>
                    <a:pt x="347" y="28"/>
                    <a:pt x="347" y="28"/>
                  </a:cubicBezTo>
                  <a:cubicBezTo>
                    <a:pt x="347" y="32"/>
                    <a:pt x="347" y="32"/>
                    <a:pt x="347" y="32"/>
                  </a:cubicBezTo>
                  <a:cubicBezTo>
                    <a:pt x="350" y="34"/>
                    <a:pt x="350" y="34"/>
                    <a:pt x="350" y="34"/>
                  </a:cubicBezTo>
                  <a:cubicBezTo>
                    <a:pt x="351" y="37"/>
                    <a:pt x="351" y="37"/>
                    <a:pt x="351" y="37"/>
                  </a:cubicBezTo>
                  <a:cubicBezTo>
                    <a:pt x="357" y="41"/>
                    <a:pt x="357" y="41"/>
                    <a:pt x="357" y="41"/>
                  </a:cubicBezTo>
                  <a:cubicBezTo>
                    <a:pt x="362" y="44"/>
                    <a:pt x="362" y="44"/>
                    <a:pt x="362" y="44"/>
                  </a:cubicBezTo>
                  <a:cubicBezTo>
                    <a:pt x="362" y="46"/>
                    <a:pt x="362" y="46"/>
                    <a:pt x="362" y="46"/>
                  </a:cubicBezTo>
                  <a:cubicBezTo>
                    <a:pt x="359" y="49"/>
                    <a:pt x="359" y="49"/>
                    <a:pt x="359" y="49"/>
                  </a:cubicBezTo>
                  <a:cubicBezTo>
                    <a:pt x="353" y="45"/>
                    <a:pt x="353" y="45"/>
                    <a:pt x="353" y="45"/>
                  </a:cubicBezTo>
                  <a:cubicBezTo>
                    <a:pt x="348" y="43"/>
                    <a:pt x="348" y="43"/>
                    <a:pt x="348" y="43"/>
                  </a:cubicBezTo>
                  <a:cubicBezTo>
                    <a:pt x="344" y="41"/>
                    <a:pt x="344" y="41"/>
                    <a:pt x="344" y="41"/>
                  </a:cubicBezTo>
                  <a:cubicBezTo>
                    <a:pt x="340" y="38"/>
                    <a:pt x="340" y="38"/>
                    <a:pt x="340" y="38"/>
                  </a:cubicBezTo>
                  <a:cubicBezTo>
                    <a:pt x="335" y="38"/>
                    <a:pt x="335" y="38"/>
                    <a:pt x="335" y="38"/>
                  </a:cubicBezTo>
                  <a:cubicBezTo>
                    <a:pt x="333" y="39"/>
                    <a:pt x="333" y="39"/>
                    <a:pt x="333" y="39"/>
                  </a:cubicBezTo>
                  <a:cubicBezTo>
                    <a:pt x="332" y="40"/>
                    <a:pt x="332" y="40"/>
                    <a:pt x="332" y="40"/>
                  </a:cubicBezTo>
                  <a:cubicBezTo>
                    <a:pt x="333" y="42"/>
                    <a:pt x="333" y="42"/>
                    <a:pt x="333" y="42"/>
                  </a:cubicBezTo>
                  <a:cubicBezTo>
                    <a:pt x="330" y="44"/>
                    <a:pt x="330" y="44"/>
                    <a:pt x="330" y="44"/>
                  </a:cubicBezTo>
                  <a:cubicBezTo>
                    <a:pt x="327" y="45"/>
                    <a:pt x="327" y="45"/>
                    <a:pt x="327" y="45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21" y="43"/>
                    <a:pt x="321" y="43"/>
                    <a:pt x="321" y="43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3" y="45"/>
                    <a:pt x="313" y="45"/>
                    <a:pt x="313" y="45"/>
                  </a:cubicBezTo>
                  <a:cubicBezTo>
                    <a:pt x="311" y="44"/>
                    <a:pt x="311" y="44"/>
                    <a:pt x="311" y="44"/>
                  </a:cubicBezTo>
                  <a:cubicBezTo>
                    <a:pt x="309" y="43"/>
                    <a:pt x="309" y="43"/>
                    <a:pt x="309" y="43"/>
                  </a:cubicBezTo>
                  <a:cubicBezTo>
                    <a:pt x="306" y="43"/>
                    <a:pt x="306" y="43"/>
                    <a:pt x="306" y="43"/>
                  </a:cubicBezTo>
                  <a:cubicBezTo>
                    <a:pt x="302" y="43"/>
                    <a:pt x="302" y="43"/>
                    <a:pt x="302" y="43"/>
                  </a:cubicBezTo>
                  <a:cubicBezTo>
                    <a:pt x="297" y="46"/>
                    <a:pt x="297" y="46"/>
                    <a:pt x="297" y="46"/>
                  </a:cubicBezTo>
                  <a:cubicBezTo>
                    <a:pt x="293" y="47"/>
                    <a:pt x="293" y="47"/>
                    <a:pt x="293" y="47"/>
                  </a:cubicBezTo>
                  <a:cubicBezTo>
                    <a:pt x="291" y="49"/>
                    <a:pt x="291" y="49"/>
                    <a:pt x="291" y="49"/>
                  </a:cubicBezTo>
                  <a:cubicBezTo>
                    <a:pt x="290" y="51"/>
                    <a:pt x="290" y="51"/>
                    <a:pt x="290" y="51"/>
                  </a:cubicBezTo>
                  <a:cubicBezTo>
                    <a:pt x="289" y="54"/>
                    <a:pt x="289" y="54"/>
                    <a:pt x="289" y="54"/>
                  </a:cubicBezTo>
                  <a:cubicBezTo>
                    <a:pt x="286" y="53"/>
                    <a:pt x="286" y="53"/>
                    <a:pt x="286" y="53"/>
                  </a:cubicBezTo>
                  <a:cubicBezTo>
                    <a:pt x="283" y="52"/>
                    <a:pt x="283" y="52"/>
                    <a:pt x="283" y="52"/>
                  </a:cubicBezTo>
                  <a:cubicBezTo>
                    <a:pt x="284" y="49"/>
                    <a:pt x="284" y="49"/>
                    <a:pt x="284" y="49"/>
                  </a:cubicBezTo>
                  <a:cubicBezTo>
                    <a:pt x="283" y="46"/>
                    <a:pt x="283" y="46"/>
                    <a:pt x="283" y="46"/>
                  </a:cubicBezTo>
                  <a:cubicBezTo>
                    <a:pt x="283" y="46"/>
                    <a:pt x="280" y="45"/>
                    <a:pt x="280" y="45"/>
                  </a:cubicBezTo>
                  <a:cubicBezTo>
                    <a:pt x="279" y="45"/>
                    <a:pt x="275" y="44"/>
                    <a:pt x="275" y="44"/>
                  </a:cubicBezTo>
                  <a:cubicBezTo>
                    <a:pt x="272" y="45"/>
                    <a:pt x="272" y="45"/>
                    <a:pt x="272" y="45"/>
                  </a:cubicBezTo>
                  <a:cubicBezTo>
                    <a:pt x="271" y="48"/>
                    <a:pt x="271" y="48"/>
                    <a:pt x="271" y="48"/>
                  </a:cubicBezTo>
                  <a:cubicBezTo>
                    <a:pt x="272" y="49"/>
                    <a:pt x="272" y="49"/>
                    <a:pt x="272" y="49"/>
                  </a:cubicBezTo>
                  <a:cubicBezTo>
                    <a:pt x="275" y="49"/>
                    <a:pt x="275" y="49"/>
                    <a:pt x="275" y="49"/>
                  </a:cubicBezTo>
                  <a:cubicBezTo>
                    <a:pt x="277" y="49"/>
                    <a:pt x="277" y="49"/>
                    <a:pt x="277" y="49"/>
                  </a:cubicBezTo>
                  <a:cubicBezTo>
                    <a:pt x="278" y="51"/>
                    <a:pt x="278" y="51"/>
                    <a:pt x="278" y="51"/>
                  </a:cubicBezTo>
                  <a:cubicBezTo>
                    <a:pt x="277" y="52"/>
                    <a:pt x="277" y="52"/>
                    <a:pt x="277" y="52"/>
                  </a:cubicBezTo>
                  <a:cubicBezTo>
                    <a:pt x="277" y="54"/>
                    <a:pt x="277" y="54"/>
                    <a:pt x="277" y="54"/>
                  </a:cubicBezTo>
                  <a:cubicBezTo>
                    <a:pt x="279" y="55"/>
                    <a:pt x="279" y="55"/>
                    <a:pt x="279" y="55"/>
                  </a:cubicBezTo>
                  <a:cubicBezTo>
                    <a:pt x="278" y="57"/>
                    <a:pt x="278" y="57"/>
                    <a:pt x="278" y="57"/>
                  </a:cubicBezTo>
                  <a:cubicBezTo>
                    <a:pt x="275" y="57"/>
                    <a:pt x="275" y="57"/>
                    <a:pt x="275" y="57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68" y="57"/>
                    <a:pt x="268" y="57"/>
                    <a:pt x="268" y="57"/>
                  </a:cubicBezTo>
                  <a:cubicBezTo>
                    <a:pt x="265" y="58"/>
                    <a:pt x="265" y="58"/>
                    <a:pt x="265" y="58"/>
                  </a:cubicBezTo>
                  <a:cubicBezTo>
                    <a:pt x="265" y="60"/>
                    <a:pt x="265" y="60"/>
                    <a:pt x="265" y="60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64" y="64"/>
                    <a:pt x="264" y="64"/>
                    <a:pt x="264" y="64"/>
                  </a:cubicBezTo>
                  <a:cubicBezTo>
                    <a:pt x="261" y="63"/>
                    <a:pt x="261" y="63"/>
                    <a:pt x="261" y="63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2" y="62"/>
                    <a:pt x="252" y="62"/>
                    <a:pt x="252" y="62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52" y="65"/>
                    <a:pt x="252" y="65"/>
                    <a:pt x="252" y="65"/>
                  </a:cubicBezTo>
                  <a:cubicBezTo>
                    <a:pt x="255" y="66"/>
                    <a:pt x="255" y="66"/>
                    <a:pt x="255" y="66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57" y="69"/>
                    <a:pt x="257" y="69"/>
                    <a:pt x="257" y="69"/>
                  </a:cubicBezTo>
                  <a:cubicBezTo>
                    <a:pt x="254" y="69"/>
                    <a:pt x="254" y="69"/>
                    <a:pt x="254" y="69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5" y="63"/>
                    <a:pt x="245" y="63"/>
                    <a:pt x="245" y="63"/>
                  </a:cubicBezTo>
                  <a:cubicBezTo>
                    <a:pt x="242" y="58"/>
                    <a:pt x="242" y="58"/>
                    <a:pt x="242" y="58"/>
                  </a:cubicBezTo>
                  <a:cubicBezTo>
                    <a:pt x="237" y="56"/>
                    <a:pt x="237" y="56"/>
                    <a:pt x="237" y="56"/>
                  </a:cubicBezTo>
                  <a:cubicBezTo>
                    <a:pt x="234" y="55"/>
                    <a:pt x="234" y="55"/>
                    <a:pt x="234" y="55"/>
                  </a:cubicBezTo>
                  <a:cubicBezTo>
                    <a:pt x="234" y="52"/>
                    <a:pt x="234" y="52"/>
                    <a:pt x="234" y="52"/>
                  </a:cubicBezTo>
                  <a:cubicBezTo>
                    <a:pt x="236" y="51"/>
                    <a:pt x="236" y="51"/>
                    <a:pt x="236" y="51"/>
                  </a:cubicBezTo>
                  <a:cubicBezTo>
                    <a:pt x="240" y="52"/>
                    <a:pt x="240" y="52"/>
                    <a:pt x="240" y="52"/>
                  </a:cubicBezTo>
                  <a:cubicBezTo>
                    <a:pt x="242" y="54"/>
                    <a:pt x="242" y="54"/>
                    <a:pt x="242" y="54"/>
                  </a:cubicBezTo>
                  <a:cubicBezTo>
                    <a:pt x="247" y="56"/>
                    <a:pt x="247" y="56"/>
                    <a:pt x="247" y="56"/>
                  </a:cubicBezTo>
                  <a:cubicBezTo>
                    <a:pt x="253" y="56"/>
                    <a:pt x="253" y="56"/>
                    <a:pt x="253" y="56"/>
                  </a:cubicBezTo>
                  <a:cubicBezTo>
                    <a:pt x="257" y="56"/>
                    <a:pt x="257" y="56"/>
                    <a:pt x="257" y="56"/>
                  </a:cubicBezTo>
                  <a:cubicBezTo>
                    <a:pt x="260" y="58"/>
                    <a:pt x="260" y="58"/>
                    <a:pt x="260" y="58"/>
                  </a:cubicBezTo>
                  <a:cubicBezTo>
                    <a:pt x="263" y="56"/>
                    <a:pt x="263" y="56"/>
                    <a:pt x="263" y="56"/>
                  </a:cubicBezTo>
                  <a:cubicBezTo>
                    <a:pt x="267" y="53"/>
                    <a:pt x="267" y="53"/>
                    <a:pt x="267" y="53"/>
                  </a:cubicBezTo>
                  <a:cubicBezTo>
                    <a:pt x="266" y="49"/>
                    <a:pt x="266" y="49"/>
                    <a:pt x="266" y="49"/>
                  </a:cubicBezTo>
                  <a:cubicBezTo>
                    <a:pt x="261" y="45"/>
                    <a:pt x="261" y="45"/>
                    <a:pt x="261" y="45"/>
                  </a:cubicBezTo>
                  <a:cubicBezTo>
                    <a:pt x="254" y="44"/>
                    <a:pt x="254" y="44"/>
                    <a:pt x="254" y="44"/>
                  </a:cubicBezTo>
                  <a:cubicBezTo>
                    <a:pt x="247" y="41"/>
                    <a:pt x="247" y="41"/>
                    <a:pt x="247" y="41"/>
                  </a:cubicBezTo>
                  <a:cubicBezTo>
                    <a:pt x="242" y="38"/>
                    <a:pt x="242" y="38"/>
                    <a:pt x="242" y="38"/>
                  </a:cubicBezTo>
                  <a:cubicBezTo>
                    <a:pt x="237" y="39"/>
                    <a:pt x="237" y="39"/>
                    <a:pt x="237" y="39"/>
                  </a:cubicBezTo>
                  <a:cubicBezTo>
                    <a:pt x="233" y="39"/>
                    <a:pt x="233" y="39"/>
                    <a:pt x="233" y="39"/>
                  </a:cubicBezTo>
                  <a:cubicBezTo>
                    <a:pt x="228" y="37"/>
                    <a:pt x="228" y="37"/>
                    <a:pt x="228" y="37"/>
                  </a:cubicBezTo>
                  <a:cubicBezTo>
                    <a:pt x="224" y="37"/>
                    <a:pt x="224" y="37"/>
                    <a:pt x="224" y="37"/>
                  </a:cubicBezTo>
                  <a:cubicBezTo>
                    <a:pt x="221" y="37"/>
                    <a:pt x="221" y="37"/>
                    <a:pt x="221" y="37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23" y="31"/>
                    <a:pt x="223" y="31"/>
                    <a:pt x="223" y="31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3" y="32"/>
                    <a:pt x="213" y="32"/>
                    <a:pt x="213" y="32"/>
                  </a:cubicBezTo>
                  <a:cubicBezTo>
                    <a:pt x="212" y="31"/>
                    <a:pt x="212" y="31"/>
                    <a:pt x="212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86" y="37"/>
                    <a:pt x="186" y="37"/>
                    <a:pt x="186" y="37"/>
                  </a:cubicBezTo>
                  <a:cubicBezTo>
                    <a:pt x="178" y="40"/>
                    <a:pt x="178" y="40"/>
                    <a:pt x="178" y="40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5" y="50"/>
                    <a:pt x="165" y="50"/>
                    <a:pt x="165" y="50"/>
                  </a:cubicBezTo>
                  <a:cubicBezTo>
                    <a:pt x="162" y="51"/>
                    <a:pt x="162" y="51"/>
                    <a:pt x="162" y="51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59" y="57"/>
                    <a:pt x="159" y="57"/>
                    <a:pt x="159" y="57"/>
                  </a:cubicBezTo>
                  <a:cubicBezTo>
                    <a:pt x="157" y="59"/>
                    <a:pt x="157" y="59"/>
                    <a:pt x="157" y="59"/>
                  </a:cubicBezTo>
                  <a:cubicBezTo>
                    <a:pt x="155" y="62"/>
                    <a:pt x="155" y="62"/>
                    <a:pt x="155" y="62"/>
                  </a:cubicBezTo>
                  <a:cubicBezTo>
                    <a:pt x="152" y="65"/>
                    <a:pt x="152" y="65"/>
                    <a:pt x="152" y="65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6" y="77"/>
                    <a:pt x="126" y="77"/>
                    <a:pt x="126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9"/>
                    <a:pt x="128" y="79"/>
                    <a:pt x="128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28" y="81"/>
                    <a:pt x="128" y="81"/>
                    <a:pt x="128" y="81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6" y="87"/>
                    <a:pt x="126" y="87"/>
                    <a:pt x="126" y="87"/>
                  </a:cubicBezTo>
                  <a:cubicBezTo>
                    <a:pt x="126" y="89"/>
                    <a:pt x="126" y="89"/>
                    <a:pt x="126" y="89"/>
                  </a:cubicBezTo>
                  <a:cubicBezTo>
                    <a:pt x="125" y="93"/>
                    <a:pt x="125" y="93"/>
                    <a:pt x="125" y="93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39" y="98"/>
                    <a:pt x="139" y="98"/>
                    <a:pt x="139" y="98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4" y="93"/>
                    <a:pt x="144" y="93"/>
                    <a:pt x="144" y="93"/>
                  </a:cubicBezTo>
                  <a:cubicBezTo>
                    <a:pt x="145" y="92"/>
                    <a:pt x="145" y="92"/>
                    <a:pt x="145" y="92"/>
                  </a:cubicBezTo>
                  <a:cubicBezTo>
                    <a:pt x="148" y="93"/>
                    <a:pt x="148" y="93"/>
                    <a:pt x="148" y="93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51" y="98"/>
                    <a:pt x="151" y="98"/>
                    <a:pt x="151" y="98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7" y="106"/>
                    <a:pt x="157" y="106"/>
                    <a:pt x="157" y="106"/>
                  </a:cubicBezTo>
                  <a:cubicBezTo>
                    <a:pt x="159" y="109"/>
                    <a:pt x="159" y="109"/>
                    <a:pt x="159" y="109"/>
                  </a:cubicBezTo>
                  <a:cubicBezTo>
                    <a:pt x="159" y="111"/>
                    <a:pt x="159" y="111"/>
                    <a:pt x="159" y="111"/>
                  </a:cubicBezTo>
                  <a:cubicBezTo>
                    <a:pt x="160" y="113"/>
                    <a:pt x="160" y="113"/>
                    <a:pt x="160" y="113"/>
                  </a:cubicBezTo>
                  <a:cubicBezTo>
                    <a:pt x="163" y="112"/>
                    <a:pt x="163" y="112"/>
                    <a:pt x="163" y="112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70" y="109"/>
                    <a:pt x="170" y="109"/>
                    <a:pt x="170" y="109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7" y="96"/>
                    <a:pt x="177" y="96"/>
                    <a:pt x="177" y="96"/>
                  </a:cubicBezTo>
                  <a:cubicBezTo>
                    <a:pt x="180" y="96"/>
                    <a:pt x="180" y="96"/>
                    <a:pt x="180" y="96"/>
                  </a:cubicBezTo>
                  <a:cubicBezTo>
                    <a:pt x="181" y="92"/>
                    <a:pt x="181" y="92"/>
                    <a:pt x="181" y="92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7" y="82"/>
                    <a:pt x="177" y="82"/>
                    <a:pt x="177" y="82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178" y="73"/>
                    <a:pt x="178" y="73"/>
                    <a:pt x="178" y="73"/>
                  </a:cubicBezTo>
                  <a:cubicBezTo>
                    <a:pt x="181" y="72"/>
                    <a:pt x="181" y="72"/>
                    <a:pt x="181" y="72"/>
                  </a:cubicBezTo>
                  <a:cubicBezTo>
                    <a:pt x="185" y="72"/>
                    <a:pt x="185" y="72"/>
                    <a:pt x="185" y="72"/>
                  </a:cubicBezTo>
                  <a:cubicBezTo>
                    <a:pt x="187" y="71"/>
                    <a:pt x="187" y="71"/>
                    <a:pt x="187" y="71"/>
                  </a:cubicBezTo>
                  <a:cubicBezTo>
                    <a:pt x="190" y="66"/>
                    <a:pt x="190" y="66"/>
                    <a:pt x="190" y="66"/>
                  </a:cubicBezTo>
                  <a:cubicBezTo>
                    <a:pt x="191" y="61"/>
                    <a:pt x="191" y="61"/>
                    <a:pt x="191" y="61"/>
                  </a:cubicBezTo>
                  <a:cubicBezTo>
                    <a:pt x="194" y="58"/>
                    <a:pt x="194" y="58"/>
                    <a:pt x="194" y="58"/>
                  </a:cubicBezTo>
                  <a:cubicBezTo>
                    <a:pt x="197" y="58"/>
                    <a:pt x="197" y="58"/>
                    <a:pt x="197" y="58"/>
                  </a:cubicBezTo>
                  <a:cubicBezTo>
                    <a:pt x="201" y="58"/>
                    <a:pt x="201" y="58"/>
                    <a:pt x="201" y="58"/>
                  </a:cubicBezTo>
                  <a:cubicBezTo>
                    <a:pt x="203" y="57"/>
                    <a:pt x="203" y="57"/>
                    <a:pt x="203" y="57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8" y="59"/>
                    <a:pt x="208" y="59"/>
                    <a:pt x="208" y="59"/>
                  </a:cubicBezTo>
                  <a:cubicBezTo>
                    <a:pt x="209" y="61"/>
                    <a:pt x="209" y="61"/>
                    <a:pt x="209" y="61"/>
                  </a:cubicBezTo>
                  <a:cubicBezTo>
                    <a:pt x="209" y="63"/>
                    <a:pt x="209" y="63"/>
                    <a:pt x="209" y="63"/>
                  </a:cubicBezTo>
                  <a:cubicBezTo>
                    <a:pt x="205" y="66"/>
                    <a:pt x="205" y="66"/>
                    <a:pt x="205" y="66"/>
                  </a:cubicBezTo>
                  <a:cubicBezTo>
                    <a:pt x="200" y="68"/>
                    <a:pt x="200" y="68"/>
                    <a:pt x="200" y="68"/>
                  </a:cubicBezTo>
                  <a:cubicBezTo>
                    <a:pt x="196" y="70"/>
                    <a:pt x="196" y="70"/>
                    <a:pt x="196" y="70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2" y="78"/>
                    <a:pt x="192" y="78"/>
                    <a:pt x="192" y="78"/>
                  </a:cubicBezTo>
                  <a:cubicBezTo>
                    <a:pt x="193" y="80"/>
                    <a:pt x="193" y="80"/>
                    <a:pt x="193" y="80"/>
                  </a:cubicBezTo>
                  <a:cubicBezTo>
                    <a:pt x="193" y="82"/>
                    <a:pt x="193" y="82"/>
                    <a:pt x="193" y="82"/>
                  </a:cubicBezTo>
                  <a:cubicBezTo>
                    <a:pt x="195" y="85"/>
                    <a:pt x="195" y="85"/>
                    <a:pt x="195" y="85"/>
                  </a:cubicBezTo>
                  <a:cubicBezTo>
                    <a:pt x="198" y="87"/>
                    <a:pt x="198" y="87"/>
                    <a:pt x="198" y="87"/>
                  </a:cubicBezTo>
                  <a:cubicBezTo>
                    <a:pt x="201" y="87"/>
                    <a:pt x="201" y="87"/>
                    <a:pt x="201" y="87"/>
                  </a:cubicBezTo>
                  <a:cubicBezTo>
                    <a:pt x="205" y="86"/>
                    <a:pt x="205" y="86"/>
                    <a:pt x="205" y="86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11" y="86"/>
                    <a:pt x="211" y="86"/>
                    <a:pt x="211" y="86"/>
                  </a:cubicBezTo>
                  <a:cubicBezTo>
                    <a:pt x="216" y="86"/>
                    <a:pt x="216" y="86"/>
                    <a:pt x="216" y="86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28" y="87"/>
                    <a:pt x="228" y="87"/>
                    <a:pt x="228" y="87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21" y="90"/>
                    <a:pt x="221" y="90"/>
                    <a:pt x="221" y="90"/>
                  </a:cubicBezTo>
                  <a:cubicBezTo>
                    <a:pt x="217" y="91"/>
                    <a:pt x="217" y="91"/>
                    <a:pt x="217" y="91"/>
                  </a:cubicBezTo>
                  <a:cubicBezTo>
                    <a:pt x="212" y="91"/>
                    <a:pt x="212" y="91"/>
                    <a:pt x="212" y="91"/>
                  </a:cubicBezTo>
                  <a:cubicBezTo>
                    <a:pt x="207" y="89"/>
                    <a:pt x="207" y="89"/>
                    <a:pt x="207" y="89"/>
                  </a:cubicBezTo>
                  <a:cubicBezTo>
                    <a:pt x="203" y="90"/>
                    <a:pt x="203" y="90"/>
                    <a:pt x="203" y="90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203" y="96"/>
                    <a:pt x="203" y="96"/>
                    <a:pt x="203" y="96"/>
                  </a:cubicBezTo>
                  <a:cubicBezTo>
                    <a:pt x="206" y="98"/>
                    <a:pt x="206" y="98"/>
                    <a:pt x="206" y="98"/>
                  </a:cubicBezTo>
                  <a:cubicBezTo>
                    <a:pt x="209" y="100"/>
                    <a:pt x="209" y="100"/>
                    <a:pt x="209" y="100"/>
                  </a:cubicBezTo>
                  <a:cubicBezTo>
                    <a:pt x="210" y="101"/>
                    <a:pt x="210" y="101"/>
                    <a:pt x="210" y="101"/>
                  </a:cubicBezTo>
                  <a:cubicBezTo>
                    <a:pt x="208" y="102"/>
                    <a:pt x="208" y="102"/>
                    <a:pt x="208" y="102"/>
                  </a:cubicBezTo>
                  <a:cubicBezTo>
                    <a:pt x="204" y="102"/>
                    <a:pt x="204" y="102"/>
                    <a:pt x="204" y="102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196" y="99"/>
                    <a:pt x="196" y="99"/>
                    <a:pt x="196" y="99"/>
                  </a:cubicBezTo>
                  <a:cubicBezTo>
                    <a:pt x="194" y="100"/>
                    <a:pt x="194" y="100"/>
                    <a:pt x="194" y="100"/>
                  </a:cubicBezTo>
                  <a:cubicBezTo>
                    <a:pt x="193" y="103"/>
                    <a:pt x="193" y="103"/>
                    <a:pt x="193" y="103"/>
                  </a:cubicBezTo>
                  <a:cubicBezTo>
                    <a:pt x="193" y="105"/>
                    <a:pt x="193" y="105"/>
                    <a:pt x="193" y="105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93" y="114"/>
                    <a:pt x="193" y="114"/>
                    <a:pt x="193" y="114"/>
                  </a:cubicBezTo>
                  <a:cubicBezTo>
                    <a:pt x="190" y="114"/>
                    <a:pt x="190" y="114"/>
                    <a:pt x="190" y="114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5" y="116"/>
                    <a:pt x="185" y="116"/>
                    <a:pt x="185" y="116"/>
                  </a:cubicBezTo>
                  <a:cubicBezTo>
                    <a:pt x="184" y="117"/>
                    <a:pt x="184" y="117"/>
                    <a:pt x="184" y="117"/>
                  </a:cubicBezTo>
                  <a:cubicBezTo>
                    <a:pt x="180" y="116"/>
                    <a:pt x="180" y="116"/>
                    <a:pt x="180" y="116"/>
                  </a:cubicBezTo>
                  <a:cubicBezTo>
                    <a:pt x="178" y="117"/>
                    <a:pt x="178" y="117"/>
                    <a:pt x="178" y="117"/>
                  </a:cubicBezTo>
                  <a:cubicBezTo>
                    <a:pt x="175" y="118"/>
                    <a:pt x="175" y="118"/>
                    <a:pt x="175" y="118"/>
                  </a:cubicBezTo>
                  <a:cubicBezTo>
                    <a:pt x="172" y="118"/>
                    <a:pt x="172" y="118"/>
                    <a:pt x="172" y="118"/>
                  </a:cubicBezTo>
                  <a:cubicBezTo>
                    <a:pt x="169" y="120"/>
                    <a:pt x="169" y="120"/>
                    <a:pt x="169" y="120"/>
                  </a:cubicBezTo>
                  <a:cubicBezTo>
                    <a:pt x="168" y="121"/>
                    <a:pt x="168" y="121"/>
                    <a:pt x="168" y="121"/>
                  </a:cubicBezTo>
                  <a:cubicBezTo>
                    <a:pt x="166" y="122"/>
                    <a:pt x="166" y="122"/>
                    <a:pt x="166" y="122"/>
                  </a:cubicBezTo>
                  <a:cubicBezTo>
                    <a:pt x="164" y="121"/>
                    <a:pt x="164" y="121"/>
                    <a:pt x="164" y="121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52" y="119"/>
                    <a:pt x="152" y="119"/>
                    <a:pt x="152" y="119"/>
                  </a:cubicBezTo>
                  <a:cubicBezTo>
                    <a:pt x="147" y="119"/>
                    <a:pt x="147" y="119"/>
                    <a:pt x="147" y="119"/>
                  </a:cubicBezTo>
                  <a:cubicBezTo>
                    <a:pt x="144" y="118"/>
                    <a:pt x="144" y="118"/>
                    <a:pt x="144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8" y="107"/>
                    <a:pt x="148" y="107"/>
                    <a:pt x="148" y="107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8" y="101"/>
                    <a:pt x="148" y="101"/>
                    <a:pt x="148" y="101"/>
                  </a:cubicBezTo>
                  <a:cubicBezTo>
                    <a:pt x="146" y="100"/>
                    <a:pt x="146" y="100"/>
                    <a:pt x="146" y="100"/>
                  </a:cubicBezTo>
                  <a:cubicBezTo>
                    <a:pt x="140" y="101"/>
                    <a:pt x="140" y="101"/>
                    <a:pt x="140" y="101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7" y="117"/>
                    <a:pt x="137" y="117"/>
                    <a:pt x="137" y="117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29" y="124"/>
                    <a:pt x="129" y="124"/>
                    <a:pt x="129" y="124"/>
                  </a:cubicBezTo>
                  <a:cubicBezTo>
                    <a:pt x="124" y="124"/>
                    <a:pt x="124" y="124"/>
                    <a:pt x="124" y="124"/>
                  </a:cubicBezTo>
                  <a:cubicBezTo>
                    <a:pt x="121" y="125"/>
                    <a:pt x="121" y="125"/>
                    <a:pt x="121" y="125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16" y="131"/>
                    <a:pt x="116" y="131"/>
                    <a:pt x="116" y="131"/>
                  </a:cubicBezTo>
                  <a:cubicBezTo>
                    <a:pt x="113" y="134"/>
                    <a:pt x="113" y="134"/>
                    <a:pt x="113" y="134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97" y="145"/>
                    <a:pt x="97" y="145"/>
                    <a:pt x="97" y="145"/>
                  </a:cubicBezTo>
                  <a:cubicBezTo>
                    <a:pt x="94" y="144"/>
                    <a:pt x="94" y="144"/>
                    <a:pt x="94" y="144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90" y="145"/>
                    <a:pt x="90" y="145"/>
                    <a:pt x="90" y="145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79" y="149"/>
                    <a:pt x="79" y="149"/>
                    <a:pt x="79" y="149"/>
                  </a:cubicBezTo>
                  <a:cubicBezTo>
                    <a:pt x="75" y="153"/>
                    <a:pt x="75" y="153"/>
                    <a:pt x="75" y="153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5" y="158"/>
                    <a:pt x="75" y="158"/>
                    <a:pt x="75" y="158"/>
                  </a:cubicBezTo>
                  <a:cubicBezTo>
                    <a:pt x="78" y="158"/>
                    <a:pt x="78" y="158"/>
                    <a:pt x="78" y="158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7" y="157"/>
                    <a:pt x="87" y="157"/>
                    <a:pt x="87" y="157"/>
                  </a:cubicBezTo>
                  <a:cubicBezTo>
                    <a:pt x="90" y="160"/>
                    <a:pt x="90" y="160"/>
                    <a:pt x="90" y="160"/>
                  </a:cubicBezTo>
                  <a:cubicBezTo>
                    <a:pt x="90" y="162"/>
                    <a:pt x="90" y="162"/>
                    <a:pt x="90" y="162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90" y="175"/>
                    <a:pt x="90" y="175"/>
                    <a:pt x="90" y="175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78" y="180"/>
                    <a:pt x="78" y="180"/>
                    <a:pt x="78" y="180"/>
                  </a:cubicBezTo>
                  <a:cubicBezTo>
                    <a:pt x="75" y="179"/>
                    <a:pt x="75" y="179"/>
                    <a:pt x="75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3" y="178"/>
                    <a:pt x="63" y="178"/>
                    <a:pt x="63" y="178"/>
                  </a:cubicBezTo>
                  <a:cubicBezTo>
                    <a:pt x="58" y="178"/>
                    <a:pt x="58" y="178"/>
                    <a:pt x="58" y="178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8"/>
                    <a:pt x="51" y="188"/>
                    <a:pt x="51" y="188"/>
                  </a:cubicBezTo>
                  <a:cubicBezTo>
                    <a:pt x="52" y="192"/>
                    <a:pt x="52" y="192"/>
                    <a:pt x="52" y="192"/>
                  </a:cubicBezTo>
                  <a:cubicBezTo>
                    <a:pt x="51" y="195"/>
                    <a:pt x="51" y="195"/>
                    <a:pt x="51" y="195"/>
                  </a:cubicBezTo>
                  <a:cubicBezTo>
                    <a:pt x="50" y="198"/>
                    <a:pt x="50" y="198"/>
                    <a:pt x="50" y="198"/>
                  </a:cubicBezTo>
                  <a:cubicBezTo>
                    <a:pt x="49" y="201"/>
                    <a:pt x="49" y="201"/>
                    <a:pt x="49" y="201"/>
                  </a:cubicBezTo>
                  <a:cubicBezTo>
                    <a:pt x="49" y="203"/>
                    <a:pt x="49" y="203"/>
                    <a:pt x="49" y="203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48" y="209"/>
                    <a:pt x="48" y="209"/>
                    <a:pt x="48" y="209"/>
                  </a:cubicBezTo>
                  <a:cubicBezTo>
                    <a:pt x="49" y="211"/>
                    <a:pt x="49" y="211"/>
                    <a:pt x="49" y="211"/>
                  </a:cubicBezTo>
                  <a:cubicBezTo>
                    <a:pt x="49" y="213"/>
                    <a:pt x="49" y="213"/>
                    <a:pt x="49" y="213"/>
                  </a:cubicBezTo>
                  <a:cubicBezTo>
                    <a:pt x="48" y="215"/>
                    <a:pt x="48" y="215"/>
                    <a:pt x="48" y="215"/>
                  </a:cubicBezTo>
                  <a:cubicBezTo>
                    <a:pt x="46" y="218"/>
                    <a:pt x="46" y="218"/>
                    <a:pt x="46" y="218"/>
                  </a:cubicBezTo>
                  <a:cubicBezTo>
                    <a:pt x="47" y="220"/>
                    <a:pt x="47" y="220"/>
                    <a:pt x="47" y="220"/>
                  </a:cubicBezTo>
                  <a:cubicBezTo>
                    <a:pt x="49" y="220"/>
                    <a:pt x="49" y="220"/>
                    <a:pt x="49" y="220"/>
                  </a:cubicBezTo>
                  <a:cubicBezTo>
                    <a:pt x="53" y="220"/>
                    <a:pt x="53" y="220"/>
                    <a:pt x="53" y="220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60" y="219"/>
                    <a:pt x="60" y="219"/>
                    <a:pt x="60" y="219"/>
                  </a:cubicBezTo>
                  <a:cubicBezTo>
                    <a:pt x="62" y="221"/>
                    <a:pt x="62" y="221"/>
                    <a:pt x="62" y="221"/>
                  </a:cubicBezTo>
                  <a:cubicBezTo>
                    <a:pt x="65" y="222"/>
                    <a:pt x="65" y="222"/>
                    <a:pt x="65" y="222"/>
                  </a:cubicBezTo>
                  <a:cubicBezTo>
                    <a:pt x="69" y="220"/>
                    <a:pt x="69" y="220"/>
                    <a:pt x="69" y="220"/>
                  </a:cubicBezTo>
                  <a:cubicBezTo>
                    <a:pt x="72" y="220"/>
                    <a:pt x="72" y="220"/>
                    <a:pt x="72" y="220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83" y="219"/>
                    <a:pt x="83" y="219"/>
                    <a:pt x="83" y="219"/>
                  </a:cubicBezTo>
                  <a:cubicBezTo>
                    <a:pt x="86" y="218"/>
                    <a:pt x="86" y="218"/>
                    <a:pt x="86" y="218"/>
                  </a:cubicBezTo>
                  <a:cubicBezTo>
                    <a:pt x="93" y="212"/>
                    <a:pt x="93" y="212"/>
                    <a:pt x="93" y="212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102" y="195"/>
                    <a:pt x="102" y="195"/>
                    <a:pt x="102" y="195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9" y="192"/>
                    <a:pt x="109" y="192"/>
                    <a:pt x="109" y="192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13" y="183"/>
                    <a:pt x="113" y="183"/>
                    <a:pt x="113" y="183"/>
                  </a:cubicBezTo>
                  <a:cubicBezTo>
                    <a:pt x="115" y="181"/>
                    <a:pt x="115" y="181"/>
                    <a:pt x="115" y="181"/>
                  </a:cubicBezTo>
                  <a:cubicBezTo>
                    <a:pt x="118" y="181"/>
                    <a:pt x="118" y="181"/>
                    <a:pt x="118" y="181"/>
                  </a:cubicBezTo>
                  <a:cubicBezTo>
                    <a:pt x="123" y="183"/>
                    <a:pt x="123" y="183"/>
                    <a:pt x="123" y="183"/>
                  </a:cubicBezTo>
                  <a:cubicBezTo>
                    <a:pt x="126" y="183"/>
                    <a:pt x="126" y="183"/>
                    <a:pt x="126" y="183"/>
                  </a:cubicBezTo>
                  <a:cubicBezTo>
                    <a:pt x="132" y="183"/>
                    <a:pt x="132" y="183"/>
                    <a:pt x="132" y="183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41" y="178"/>
                    <a:pt x="141" y="178"/>
                    <a:pt x="141" y="178"/>
                  </a:cubicBezTo>
                  <a:cubicBezTo>
                    <a:pt x="147" y="181"/>
                    <a:pt x="147" y="181"/>
                    <a:pt x="147" y="181"/>
                  </a:cubicBezTo>
                  <a:cubicBezTo>
                    <a:pt x="151" y="184"/>
                    <a:pt x="151" y="184"/>
                    <a:pt x="151" y="184"/>
                  </a:cubicBezTo>
                  <a:cubicBezTo>
                    <a:pt x="156" y="188"/>
                    <a:pt x="156" y="188"/>
                    <a:pt x="156" y="188"/>
                  </a:cubicBezTo>
                  <a:cubicBezTo>
                    <a:pt x="159" y="191"/>
                    <a:pt x="159" y="191"/>
                    <a:pt x="159" y="191"/>
                  </a:cubicBezTo>
                  <a:cubicBezTo>
                    <a:pt x="161" y="195"/>
                    <a:pt x="161" y="195"/>
                    <a:pt x="161" y="195"/>
                  </a:cubicBezTo>
                  <a:cubicBezTo>
                    <a:pt x="163" y="196"/>
                    <a:pt x="163" y="196"/>
                    <a:pt x="163" y="196"/>
                  </a:cubicBezTo>
                  <a:cubicBezTo>
                    <a:pt x="167" y="197"/>
                    <a:pt x="167" y="197"/>
                    <a:pt x="167" y="197"/>
                  </a:cubicBezTo>
                  <a:cubicBezTo>
                    <a:pt x="169" y="200"/>
                    <a:pt x="169" y="200"/>
                    <a:pt x="169" y="200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207"/>
                    <a:pt x="171" y="207"/>
                    <a:pt x="171" y="207"/>
                  </a:cubicBezTo>
                  <a:cubicBezTo>
                    <a:pt x="172" y="210"/>
                    <a:pt x="172" y="210"/>
                    <a:pt x="172" y="210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76" y="213"/>
                    <a:pt x="176" y="213"/>
                    <a:pt x="176" y="213"/>
                  </a:cubicBezTo>
                  <a:cubicBezTo>
                    <a:pt x="177" y="212"/>
                    <a:pt x="177" y="212"/>
                    <a:pt x="177" y="212"/>
                  </a:cubicBezTo>
                  <a:cubicBezTo>
                    <a:pt x="177" y="209"/>
                    <a:pt x="177" y="209"/>
                    <a:pt x="177" y="209"/>
                  </a:cubicBezTo>
                  <a:cubicBezTo>
                    <a:pt x="179" y="207"/>
                    <a:pt x="179" y="207"/>
                    <a:pt x="179" y="207"/>
                  </a:cubicBezTo>
                  <a:cubicBezTo>
                    <a:pt x="178" y="204"/>
                    <a:pt x="178" y="204"/>
                    <a:pt x="178" y="204"/>
                  </a:cubicBezTo>
                  <a:cubicBezTo>
                    <a:pt x="177" y="201"/>
                    <a:pt x="177" y="201"/>
                    <a:pt x="177" y="201"/>
                  </a:cubicBezTo>
                  <a:cubicBezTo>
                    <a:pt x="179" y="200"/>
                    <a:pt x="179" y="200"/>
                    <a:pt x="179" y="200"/>
                  </a:cubicBezTo>
                  <a:cubicBezTo>
                    <a:pt x="180" y="200"/>
                    <a:pt x="180" y="200"/>
                    <a:pt x="180" y="200"/>
                  </a:cubicBezTo>
                  <a:cubicBezTo>
                    <a:pt x="183" y="202"/>
                    <a:pt x="183" y="202"/>
                    <a:pt x="183" y="202"/>
                  </a:cubicBezTo>
                  <a:cubicBezTo>
                    <a:pt x="185" y="202"/>
                    <a:pt x="185" y="202"/>
                    <a:pt x="185" y="202"/>
                  </a:cubicBezTo>
                  <a:cubicBezTo>
                    <a:pt x="186" y="201"/>
                    <a:pt x="186" y="201"/>
                    <a:pt x="186" y="201"/>
                  </a:cubicBezTo>
                  <a:cubicBezTo>
                    <a:pt x="184" y="199"/>
                    <a:pt x="184" y="199"/>
                    <a:pt x="184" y="199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79" y="195"/>
                    <a:pt x="179" y="195"/>
                    <a:pt x="179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4" y="194"/>
                    <a:pt x="174" y="194"/>
                    <a:pt x="174" y="194"/>
                  </a:cubicBezTo>
                  <a:cubicBezTo>
                    <a:pt x="174" y="191"/>
                    <a:pt x="174" y="191"/>
                    <a:pt x="174" y="191"/>
                  </a:cubicBezTo>
                  <a:cubicBezTo>
                    <a:pt x="173" y="189"/>
                    <a:pt x="173" y="189"/>
                    <a:pt x="173" y="189"/>
                  </a:cubicBezTo>
                  <a:cubicBezTo>
                    <a:pt x="170" y="188"/>
                    <a:pt x="170" y="188"/>
                    <a:pt x="170" y="188"/>
                  </a:cubicBezTo>
                  <a:cubicBezTo>
                    <a:pt x="168" y="185"/>
                    <a:pt x="168" y="185"/>
                    <a:pt x="168" y="185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65" y="178"/>
                    <a:pt x="165" y="178"/>
                    <a:pt x="165" y="178"/>
                  </a:cubicBezTo>
                  <a:cubicBezTo>
                    <a:pt x="163" y="178"/>
                    <a:pt x="163" y="178"/>
                    <a:pt x="163" y="178"/>
                  </a:cubicBezTo>
                  <a:cubicBezTo>
                    <a:pt x="159" y="177"/>
                    <a:pt x="159" y="177"/>
                    <a:pt x="159" y="177"/>
                  </a:cubicBezTo>
                  <a:cubicBezTo>
                    <a:pt x="159" y="174"/>
                    <a:pt x="159" y="174"/>
                    <a:pt x="159" y="174"/>
                  </a:cubicBezTo>
                  <a:cubicBezTo>
                    <a:pt x="158" y="170"/>
                    <a:pt x="158" y="170"/>
                    <a:pt x="158" y="170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61" y="167"/>
                    <a:pt x="161" y="167"/>
                    <a:pt x="161" y="167"/>
                  </a:cubicBezTo>
                  <a:cubicBezTo>
                    <a:pt x="162" y="168"/>
                    <a:pt x="162" y="168"/>
                    <a:pt x="162" y="168"/>
                  </a:cubicBezTo>
                  <a:cubicBezTo>
                    <a:pt x="163" y="171"/>
                    <a:pt x="163" y="171"/>
                    <a:pt x="163" y="171"/>
                  </a:cubicBezTo>
                  <a:cubicBezTo>
                    <a:pt x="165" y="172"/>
                    <a:pt x="165" y="172"/>
                    <a:pt x="165" y="172"/>
                  </a:cubicBezTo>
                  <a:cubicBezTo>
                    <a:pt x="167" y="172"/>
                    <a:pt x="167" y="172"/>
                    <a:pt x="167" y="172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2" y="178"/>
                    <a:pt x="172" y="178"/>
                    <a:pt x="172" y="178"/>
                  </a:cubicBezTo>
                  <a:cubicBezTo>
                    <a:pt x="175" y="181"/>
                    <a:pt x="175" y="181"/>
                    <a:pt x="175" y="181"/>
                  </a:cubicBezTo>
                  <a:cubicBezTo>
                    <a:pt x="177" y="182"/>
                    <a:pt x="177" y="182"/>
                    <a:pt x="177" y="182"/>
                  </a:cubicBezTo>
                  <a:cubicBezTo>
                    <a:pt x="181" y="183"/>
                    <a:pt x="181" y="183"/>
                    <a:pt x="181" y="183"/>
                  </a:cubicBezTo>
                  <a:cubicBezTo>
                    <a:pt x="184" y="185"/>
                    <a:pt x="184" y="185"/>
                    <a:pt x="184" y="185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89" y="187"/>
                    <a:pt x="189" y="187"/>
                    <a:pt x="189" y="187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89" y="194"/>
                    <a:pt x="189" y="194"/>
                    <a:pt x="189" y="194"/>
                  </a:cubicBezTo>
                  <a:cubicBezTo>
                    <a:pt x="190" y="200"/>
                    <a:pt x="190" y="200"/>
                    <a:pt x="190" y="200"/>
                  </a:cubicBezTo>
                  <a:cubicBezTo>
                    <a:pt x="192" y="206"/>
                    <a:pt x="192" y="206"/>
                    <a:pt x="192" y="206"/>
                  </a:cubicBezTo>
                  <a:cubicBezTo>
                    <a:pt x="194" y="210"/>
                    <a:pt x="194" y="210"/>
                    <a:pt x="194" y="210"/>
                  </a:cubicBezTo>
                  <a:cubicBezTo>
                    <a:pt x="197" y="212"/>
                    <a:pt x="197" y="212"/>
                    <a:pt x="197" y="212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4" y="218"/>
                    <a:pt x="204" y="218"/>
                    <a:pt x="204" y="218"/>
                  </a:cubicBezTo>
                  <a:cubicBezTo>
                    <a:pt x="203" y="218"/>
                    <a:pt x="203" y="218"/>
                    <a:pt x="203" y="218"/>
                  </a:cubicBezTo>
                  <a:cubicBezTo>
                    <a:pt x="199" y="219"/>
                    <a:pt x="199" y="219"/>
                    <a:pt x="199" y="219"/>
                  </a:cubicBezTo>
                  <a:cubicBezTo>
                    <a:pt x="198" y="221"/>
                    <a:pt x="198" y="221"/>
                    <a:pt x="198" y="221"/>
                  </a:cubicBezTo>
                  <a:cubicBezTo>
                    <a:pt x="200" y="223"/>
                    <a:pt x="200" y="223"/>
                    <a:pt x="200" y="223"/>
                  </a:cubicBezTo>
                  <a:cubicBezTo>
                    <a:pt x="202" y="225"/>
                    <a:pt x="202" y="225"/>
                    <a:pt x="202" y="225"/>
                  </a:cubicBezTo>
                  <a:cubicBezTo>
                    <a:pt x="206" y="225"/>
                    <a:pt x="206" y="225"/>
                    <a:pt x="206" y="225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208" y="222"/>
                    <a:pt x="208" y="222"/>
                    <a:pt x="208" y="222"/>
                  </a:cubicBezTo>
                  <a:cubicBezTo>
                    <a:pt x="209" y="219"/>
                    <a:pt x="209" y="219"/>
                    <a:pt x="209" y="219"/>
                  </a:cubicBezTo>
                  <a:cubicBezTo>
                    <a:pt x="211" y="219"/>
                    <a:pt x="211" y="219"/>
                    <a:pt x="211" y="219"/>
                  </a:cubicBezTo>
                  <a:cubicBezTo>
                    <a:pt x="212" y="217"/>
                    <a:pt x="212" y="217"/>
                    <a:pt x="212" y="217"/>
                  </a:cubicBezTo>
                  <a:cubicBezTo>
                    <a:pt x="213" y="216"/>
                    <a:pt x="213" y="216"/>
                    <a:pt x="213" y="216"/>
                  </a:cubicBezTo>
                  <a:cubicBezTo>
                    <a:pt x="214" y="214"/>
                    <a:pt x="214" y="214"/>
                    <a:pt x="214" y="214"/>
                  </a:cubicBezTo>
                  <a:cubicBezTo>
                    <a:pt x="213" y="213"/>
                    <a:pt x="213" y="213"/>
                    <a:pt x="213" y="213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1"/>
                    <a:pt x="209" y="211"/>
                    <a:pt x="209" y="211"/>
                  </a:cubicBezTo>
                  <a:cubicBezTo>
                    <a:pt x="211" y="209"/>
                    <a:pt x="211" y="209"/>
                    <a:pt x="211" y="209"/>
                  </a:cubicBezTo>
                  <a:cubicBezTo>
                    <a:pt x="210" y="206"/>
                    <a:pt x="210" y="206"/>
                    <a:pt x="210" y="206"/>
                  </a:cubicBezTo>
                  <a:cubicBezTo>
                    <a:pt x="208" y="200"/>
                    <a:pt x="208" y="200"/>
                    <a:pt x="208" y="200"/>
                  </a:cubicBezTo>
                  <a:cubicBezTo>
                    <a:pt x="210" y="199"/>
                    <a:pt x="210" y="199"/>
                    <a:pt x="210" y="199"/>
                  </a:cubicBezTo>
                  <a:cubicBezTo>
                    <a:pt x="212" y="200"/>
                    <a:pt x="212" y="200"/>
                    <a:pt x="212" y="200"/>
                  </a:cubicBezTo>
                  <a:cubicBezTo>
                    <a:pt x="213" y="203"/>
                    <a:pt x="213" y="203"/>
                    <a:pt x="213" y="203"/>
                  </a:cubicBezTo>
                  <a:cubicBezTo>
                    <a:pt x="215" y="204"/>
                    <a:pt x="215" y="204"/>
                    <a:pt x="215" y="204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15" y="198"/>
                    <a:pt x="215" y="198"/>
                    <a:pt x="215" y="198"/>
                  </a:cubicBezTo>
                  <a:cubicBezTo>
                    <a:pt x="218" y="198"/>
                    <a:pt x="218" y="198"/>
                    <a:pt x="218" y="198"/>
                  </a:cubicBezTo>
                  <a:cubicBezTo>
                    <a:pt x="222" y="199"/>
                    <a:pt x="222" y="199"/>
                    <a:pt x="222" y="199"/>
                  </a:cubicBezTo>
                  <a:cubicBezTo>
                    <a:pt x="225" y="199"/>
                    <a:pt x="225" y="199"/>
                    <a:pt x="225" y="199"/>
                  </a:cubicBezTo>
                  <a:cubicBezTo>
                    <a:pt x="234" y="195"/>
                    <a:pt x="234" y="195"/>
                    <a:pt x="234" y="195"/>
                  </a:cubicBezTo>
                  <a:cubicBezTo>
                    <a:pt x="234" y="192"/>
                    <a:pt x="234" y="192"/>
                    <a:pt x="234" y="192"/>
                  </a:cubicBezTo>
                  <a:cubicBezTo>
                    <a:pt x="231" y="191"/>
                    <a:pt x="231" y="191"/>
                    <a:pt x="231" y="191"/>
                  </a:cubicBezTo>
                  <a:cubicBezTo>
                    <a:pt x="228" y="189"/>
                    <a:pt x="228" y="189"/>
                    <a:pt x="228" y="189"/>
                  </a:cubicBezTo>
                  <a:cubicBezTo>
                    <a:pt x="229" y="186"/>
                    <a:pt x="229" y="186"/>
                    <a:pt x="229" y="186"/>
                  </a:cubicBezTo>
                  <a:cubicBezTo>
                    <a:pt x="230" y="181"/>
                    <a:pt x="230" y="181"/>
                    <a:pt x="230" y="181"/>
                  </a:cubicBezTo>
                  <a:cubicBezTo>
                    <a:pt x="231" y="178"/>
                    <a:pt x="231" y="178"/>
                    <a:pt x="231" y="17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7" y="175"/>
                    <a:pt x="237" y="175"/>
                    <a:pt x="237" y="175"/>
                  </a:cubicBezTo>
                  <a:cubicBezTo>
                    <a:pt x="239" y="172"/>
                    <a:pt x="239" y="172"/>
                    <a:pt x="239" y="172"/>
                  </a:cubicBezTo>
                  <a:cubicBezTo>
                    <a:pt x="241" y="168"/>
                    <a:pt x="241" y="168"/>
                    <a:pt x="241" y="168"/>
                  </a:cubicBezTo>
                  <a:cubicBezTo>
                    <a:pt x="243" y="167"/>
                    <a:pt x="243" y="167"/>
                    <a:pt x="243" y="167"/>
                  </a:cubicBezTo>
                  <a:cubicBezTo>
                    <a:pt x="248" y="166"/>
                    <a:pt x="248" y="166"/>
                    <a:pt x="248" y="166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2" y="170"/>
                    <a:pt x="252" y="170"/>
                    <a:pt x="252" y="170"/>
                  </a:cubicBezTo>
                  <a:cubicBezTo>
                    <a:pt x="252" y="170"/>
                    <a:pt x="253" y="174"/>
                    <a:pt x="253" y="174"/>
                  </a:cubicBezTo>
                  <a:cubicBezTo>
                    <a:pt x="253" y="175"/>
                    <a:pt x="253" y="178"/>
                    <a:pt x="253" y="178"/>
                  </a:cubicBezTo>
                  <a:cubicBezTo>
                    <a:pt x="256" y="178"/>
                    <a:pt x="256" y="178"/>
                    <a:pt x="256" y="178"/>
                  </a:cubicBezTo>
                  <a:cubicBezTo>
                    <a:pt x="259" y="176"/>
                    <a:pt x="259" y="176"/>
                    <a:pt x="259" y="176"/>
                  </a:cubicBezTo>
                  <a:cubicBezTo>
                    <a:pt x="262" y="175"/>
                    <a:pt x="262" y="175"/>
                    <a:pt x="262" y="175"/>
                  </a:cubicBezTo>
                  <a:cubicBezTo>
                    <a:pt x="264" y="173"/>
                    <a:pt x="264" y="173"/>
                    <a:pt x="264" y="173"/>
                  </a:cubicBezTo>
                  <a:cubicBezTo>
                    <a:pt x="262" y="170"/>
                    <a:pt x="262" y="170"/>
                    <a:pt x="262" y="170"/>
                  </a:cubicBezTo>
                  <a:cubicBezTo>
                    <a:pt x="259" y="168"/>
                    <a:pt x="259" y="168"/>
                    <a:pt x="259" y="168"/>
                  </a:cubicBezTo>
                  <a:cubicBezTo>
                    <a:pt x="260" y="166"/>
                    <a:pt x="260" y="166"/>
                    <a:pt x="260" y="166"/>
                  </a:cubicBezTo>
                  <a:cubicBezTo>
                    <a:pt x="262" y="164"/>
                    <a:pt x="262" y="164"/>
                    <a:pt x="262" y="164"/>
                  </a:cubicBezTo>
                  <a:cubicBezTo>
                    <a:pt x="266" y="164"/>
                    <a:pt x="266" y="164"/>
                    <a:pt x="266" y="164"/>
                  </a:cubicBezTo>
                  <a:cubicBezTo>
                    <a:pt x="270" y="163"/>
                    <a:pt x="270" y="163"/>
                    <a:pt x="270" y="163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5" y="161"/>
                    <a:pt x="275" y="161"/>
                    <a:pt x="275" y="161"/>
                  </a:cubicBezTo>
                  <a:cubicBezTo>
                    <a:pt x="277" y="162"/>
                    <a:pt x="277" y="162"/>
                    <a:pt x="277" y="162"/>
                  </a:cubicBezTo>
                  <a:cubicBezTo>
                    <a:pt x="276" y="164"/>
                    <a:pt x="276" y="164"/>
                    <a:pt x="276" y="164"/>
                  </a:cubicBezTo>
                  <a:cubicBezTo>
                    <a:pt x="274" y="164"/>
                    <a:pt x="274" y="164"/>
                    <a:pt x="274" y="164"/>
                  </a:cubicBezTo>
                  <a:cubicBezTo>
                    <a:pt x="272" y="166"/>
                    <a:pt x="272" y="166"/>
                    <a:pt x="272" y="166"/>
                  </a:cubicBezTo>
                  <a:cubicBezTo>
                    <a:pt x="271" y="168"/>
                    <a:pt x="271" y="168"/>
                    <a:pt x="271" y="168"/>
                  </a:cubicBezTo>
                  <a:cubicBezTo>
                    <a:pt x="270" y="170"/>
                    <a:pt x="270" y="170"/>
                    <a:pt x="270" y="170"/>
                  </a:cubicBezTo>
                  <a:cubicBezTo>
                    <a:pt x="268" y="172"/>
                    <a:pt x="268" y="172"/>
                    <a:pt x="268" y="172"/>
                  </a:cubicBezTo>
                  <a:cubicBezTo>
                    <a:pt x="268" y="174"/>
                    <a:pt x="268" y="174"/>
                    <a:pt x="268" y="174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9" y="177"/>
                    <a:pt x="279" y="177"/>
                    <a:pt x="279" y="177"/>
                  </a:cubicBezTo>
                  <a:cubicBezTo>
                    <a:pt x="285" y="180"/>
                    <a:pt x="285" y="180"/>
                    <a:pt x="285" y="180"/>
                  </a:cubicBezTo>
                  <a:cubicBezTo>
                    <a:pt x="288" y="184"/>
                    <a:pt x="288" y="184"/>
                    <a:pt x="288" y="184"/>
                  </a:cubicBezTo>
                  <a:cubicBezTo>
                    <a:pt x="291" y="188"/>
                    <a:pt x="291" y="188"/>
                    <a:pt x="291" y="188"/>
                  </a:cubicBezTo>
                  <a:cubicBezTo>
                    <a:pt x="290" y="192"/>
                    <a:pt x="290" y="192"/>
                    <a:pt x="290" y="192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83" y="194"/>
                    <a:pt x="283" y="194"/>
                    <a:pt x="283" y="194"/>
                  </a:cubicBezTo>
                  <a:cubicBezTo>
                    <a:pt x="279" y="193"/>
                    <a:pt x="279" y="193"/>
                    <a:pt x="279" y="193"/>
                  </a:cubicBezTo>
                  <a:cubicBezTo>
                    <a:pt x="275" y="191"/>
                    <a:pt x="275" y="191"/>
                    <a:pt x="275" y="191"/>
                  </a:cubicBezTo>
                  <a:cubicBezTo>
                    <a:pt x="271" y="191"/>
                    <a:pt x="271" y="191"/>
                    <a:pt x="271" y="191"/>
                  </a:cubicBezTo>
                  <a:cubicBezTo>
                    <a:pt x="265" y="191"/>
                    <a:pt x="265" y="191"/>
                    <a:pt x="265" y="191"/>
                  </a:cubicBezTo>
                  <a:cubicBezTo>
                    <a:pt x="259" y="193"/>
                    <a:pt x="259" y="193"/>
                    <a:pt x="259" y="193"/>
                  </a:cubicBezTo>
                  <a:cubicBezTo>
                    <a:pt x="255" y="193"/>
                    <a:pt x="255" y="193"/>
                    <a:pt x="255" y="193"/>
                  </a:cubicBezTo>
                  <a:cubicBezTo>
                    <a:pt x="249" y="194"/>
                    <a:pt x="249" y="194"/>
                    <a:pt x="249" y="194"/>
                  </a:cubicBezTo>
                  <a:cubicBezTo>
                    <a:pt x="240" y="196"/>
                    <a:pt x="240" y="196"/>
                    <a:pt x="240" y="196"/>
                  </a:cubicBezTo>
                  <a:cubicBezTo>
                    <a:pt x="231" y="199"/>
                    <a:pt x="231" y="199"/>
                    <a:pt x="231" y="199"/>
                  </a:cubicBezTo>
                  <a:cubicBezTo>
                    <a:pt x="222" y="204"/>
                    <a:pt x="222" y="204"/>
                    <a:pt x="222" y="204"/>
                  </a:cubicBezTo>
                  <a:cubicBezTo>
                    <a:pt x="222" y="207"/>
                    <a:pt x="222" y="207"/>
                    <a:pt x="222" y="207"/>
                  </a:cubicBezTo>
                  <a:cubicBezTo>
                    <a:pt x="223" y="210"/>
                    <a:pt x="223" y="210"/>
                    <a:pt x="223" y="210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2" y="214"/>
                    <a:pt x="222" y="214"/>
                    <a:pt x="222" y="214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22" y="220"/>
                    <a:pt x="222" y="220"/>
                    <a:pt x="222" y="220"/>
                  </a:cubicBezTo>
                  <a:cubicBezTo>
                    <a:pt x="225" y="222"/>
                    <a:pt x="225" y="222"/>
                    <a:pt x="225" y="222"/>
                  </a:cubicBezTo>
                  <a:cubicBezTo>
                    <a:pt x="228" y="224"/>
                    <a:pt x="228" y="224"/>
                    <a:pt x="228" y="224"/>
                  </a:cubicBezTo>
                  <a:cubicBezTo>
                    <a:pt x="231" y="224"/>
                    <a:pt x="231" y="224"/>
                    <a:pt x="231" y="224"/>
                  </a:cubicBezTo>
                  <a:cubicBezTo>
                    <a:pt x="235" y="225"/>
                    <a:pt x="235" y="225"/>
                    <a:pt x="235" y="225"/>
                  </a:cubicBezTo>
                  <a:cubicBezTo>
                    <a:pt x="238" y="228"/>
                    <a:pt x="238" y="228"/>
                    <a:pt x="238" y="228"/>
                  </a:cubicBezTo>
                  <a:cubicBezTo>
                    <a:pt x="241" y="229"/>
                    <a:pt x="241" y="229"/>
                    <a:pt x="241" y="229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50" y="222"/>
                    <a:pt x="250" y="222"/>
                    <a:pt x="250" y="222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0" y="223"/>
                    <a:pt x="260" y="223"/>
                    <a:pt x="260" y="223"/>
                  </a:cubicBezTo>
                  <a:cubicBezTo>
                    <a:pt x="264" y="220"/>
                    <a:pt x="264" y="220"/>
                    <a:pt x="264" y="220"/>
                  </a:cubicBezTo>
                  <a:cubicBezTo>
                    <a:pt x="268" y="220"/>
                    <a:pt x="268" y="220"/>
                    <a:pt x="268" y="220"/>
                  </a:cubicBezTo>
                  <a:cubicBezTo>
                    <a:pt x="273" y="220"/>
                    <a:pt x="273" y="220"/>
                    <a:pt x="273" y="220"/>
                  </a:cubicBezTo>
                  <a:cubicBezTo>
                    <a:pt x="275" y="221"/>
                    <a:pt x="275" y="221"/>
                    <a:pt x="275" y="221"/>
                  </a:cubicBezTo>
                  <a:cubicBezTo>
                    <a:pt x="273" y="223"/>
                    <a:pt x="273" y="223"/>
                    <a:pt x="273" y="223"/>
                  </a:cubicBezTo>
                  <a:cubicBezTo>
                    <a:pt x="270" y="226"/>
                    <a:pt x="270" y="226"/>
                    <a:pt x="270" y="226"/>
                  </a:cubicBezTo>
                  <a:cubicBezTo>
                    <a:pt x="270" y="230"/>
                    <a:pt x="270" y="230"/>
                    <a:pt x="270" y="230"/>
                  </a:cubicBezTo>
                  <a:cubicBezTo>
                    <a:pt x="270" y="235"/>
                    <a:pt x="270" y="235"/>
                    <a:pt x="270" y="235"/>
                  </a:cubicBezTo>
                  <a:cubicBezTo>
                    <a:pt x="270" y="241"/>
                    <a:pt x="270" y="241"/>
                    <a:pt x="270" y="241"/>
                  </a:cubicBezTo>
                  <a:cubicBezTo>
                    <a:pt x="268" y="245"/>
                    <a:pt x="268" y="245"/>
                    <a:pt x="268" y="245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56" y="252"/>
                    <a:pt x="256" y="252"/>
                    <a:pt x="256" y="252"/>
                  </a:cubicBezTo>
                  <a:cubicBezTo>
                    <a:pt x="250" y="251"/>
                    <a:pt x="250" y="251"/>
                    <a:pt x="250" y="251"/>
                  </a:cubicBezTo>
                  <a:cubicBezTo>
                    <a:pt x="241" y="251"/>
                    <a:pt x="241" y="251"/>
                    <a:pt x="241" y="251"/>
                  </a:cubicBezTo>
                  <a:cubicBezTo>
                    <a:pt x="231" y="251"/>
                    <a:pt x="231" y="251"/>
                    <a:pt x="231" y="251"/>
                  </a:cubicBezTo>
                  <a:cubicBezTo>
                    <a:pt x="226" y="248"/>
                    <a:pt x="226" y="248"/>
                    <a:pt x="226" y="248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8"/>
                    <a:pt x="221" y="248"/>
                    <a:pt x="221" y="248"/>
                  </a:cubicBezTo>
                  <a:cubicBezTo>
                    <a:pt x="219" y="251"/>
                    <a:pt x="219" y="251"/>
                    <a:pt x="219" y="251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8" y="249"/>
                    <a:pt x="218" y="249"/>
                    <a:pt x="218" y="249"/>
                  </a:cubicBezTo>
                  <a:cubicBezTo>
                    <a:pt x="216" y="247"/>
                    <a:pt x="216" y="247"/>
                    <a:pt x="216" y="247"/>
                  </a:cubicBezTo>
                  <a:cubicBezTo>
                    <a:pt x="212" y="247"/>
                    <a:pt x="212" y="247"/>
                    <a:pt x="212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4" y="246"/>
                    <a:pt x="204" y="246"/>
                    <a:pt x="204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2" y="251"/>
                    <a:pt x="192" y="251"/>
                    <a:pt x="192" y="251"/>
                  </a:cubicBezTo>
                  <a:cubicBezTo>
                    <a:pt x="186" y="253"/>
                    <a:pt x="186" y="253"/>
                    <a:pt x="186" y="253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1" y="252"/>
                    <a:pt x="171" y="252"/>
                    <a:pt x="171" y="252"/>
                  </a:cubicBezTo>
                  <a:cubicBezTo>
                    <a:pt x="169" y="249"/>
                    <a:pt x="169" y="249"/>
                    <a:pt x="169" y="249"/>
                  </a:cubicBezTo>
                  <a:cubicBezTo>
                    <a:pt x="165" y="245"/>
                    <a:pt x="165" y="245"/>
                    <a:pt x="165" y="245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56" y="244"/>
                    <a:pt x="156" y="244"/>
                    <a:pt x="156" y="244"/>
                  </a:cubicBezTo>
                  <a:cubicBezTo>
                    <a:pt x="150" y="244"/>
                    <a:pt x="150" y="244"/>
                    <a:pt x="150" y="244"/>
                  </a:cubicBezTo>
                  <a:cubicBezTo>
                    <a:pt x="148" y="240"/>
                    <a:pt x="148" y="240"/>
                    <a:pt x="148" y="240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5" y="234"/>
                    <a:pt x="145" y="234"/>
                    <a:pt x="145" y="234"/>
                  </a:cubicBezTo>
                  <a:cubicBezTo>
                    <a:pt x="148" y="232"/>
                    <a:pt x="148" y="232"/>
                    <a:pt x="148" y="232"/>
                  </a:cubicBezTo>
                  <a:cubicBezTo>
                    <a:pt x="150" y="228"/>
                    <a:pt x="150" y="228"/>
                    <a:pt x="150" y="228"/>
                  </a:cubicBezTo>
                  <a:cubicBezTo>
                    <a:pt x="148" y="224"/>
                    <a:pt x="148" y="224"/>
                    <a:pt x="148" y="224"/>
                  </a:cubicBezTo>
                  <a:cubicBezTo>
                    <a:pt x="149" y="222"/>
                    <a:pt x="149" y="222"/>
                    <a:pt x="149" y="222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2" y="219"/>
                    <a:pt x="142" y="219"/>
                    <a:pt x="142" y="219"/>
                  </a:cubicBezTo>
                  <a:cubicBezTo>
                    <a:pt x="134" y="219"/>
                    <a:pt x="134" y="219"/>
                    <a:pt x="134" y="219"/>
                  </a:cubicBezTo>
                  <a:cubicBezTo>
                    <a:pt x="131" y="219"/>
                    <a:pt x="131" y="219"/>
                    <a:pt x="131" y="219"/>
                  </a:cubicBezTo>
                  <a:cubicBezTo>
                    <a:pt x="127" y="218"/>
                    <a:pt x="127" y="218"/>
                    <a:pt x="127" y="218"/>
                  </a:cubicBezTo>
                  <a:cubicBezTo>
                    <a:pt x="122" y="218"/>
                    <a:pt x="122" y="218"/>
                    <a:pt x="122" y="218"/>
                  </a:cubicBezTo>
                  <a:cubicBezTo>
                    <a:pt x="120" y="220"/>
                    <a:pt x="120" y="220"/>
                    <a:pt x="120" y="220"/>
                  </a:cubicBezTo>
                  <a:cubicBezTo>
                    <a:pt x="115" y="220"/>
                    <a:pt x="115" y="220"/>
                    <a:pt x="115" y="220"/>
                  </a:cubicBezTo>
                  <a:cubicBezTo>
                    <a:pt x="111" y="219"/>
                    <a:pt x="111" y="219"/>
                    <a:pt x="111" y="219"/>
                  </a:cubicBezTo>
                  <a:cubicBezTo>
                    <a:pt x="105" y="220"/>
                    <a:pt x="105" y="220"/>
                    <a:pt x="105" y="220"/>
                  </a:cubicBezTo>
                  <a:cubicBezTo>
                    <a:pt x="100" y="222"/>
                    <a:pt x="100" y="222"/>
                    <a:pt x="100" y="222"/>
                  </a:cubicBezTo>
                  <a:cubicBezTo>
                    <a:pt x="95" y="224"/>
                    <a:pt x="95" y="224"/>
                    <a:pt x="95" y="224"/>
                  </a:cubicBezTo>
                  <a:cubicBezTo>
                    <a:pt x="89" y="227"/>
                    <a:pt x="89" y="227"/>
                    <a:pt x="89" y="227"/>
                  </a:cubicBezTo>
                  <a:cubicBezTo>
                    <a:pt x="82" y="226"/>
                    <a:pt x="82" y="226"/>
                    <a:pt x="82" y="226"/>
                  </a:cubicBezTo>
                  <a:cubicBezTo>
                    <a:pt x="79" y="226"/>
                    <a:pt x="79" y="226"/>
                    <a:pt x="79" y="226"/>
                  </a:cubicBezTo>
                  <a:cubicBezTo>
                    <a:pt x="77" y="227"/>
                    <a:pt x="77" y="227"/>
                    <a:pt x="77" y="227"/>
                  </a:cubicBezTo>
                  <a:cubicBezTo>
                    <a:pt x="74" y="228"/>
                    <a:pt x="74" y="228"/>
                    <a:pt x="74" y="228"/>
                  </a:cubicBezTo>
                  <a:cubicBezTo>
                    <a:pt x="71" y="228"/>
                    <a:pt x="71" y="228"/>
                    <a:pt x="71" y="228"/>
                  </a:cubicBezTo>
                  <a:cubicBezTo>
                    <a:pt x="70" y="226"/>
                    <a:pt x="70" y="226"/>
                    <a:pt x="70" y="226"/>
                  </a:cubicBezTo>
                  <a:cubicBezTo>
                    <a:pt x="67" y="224"/>
                    <a:pt x="67" y="224"/>
                    <a:pt x="67" y="224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8" y="232"/>
                    <a:pt x="58" y="232"/>
                    <a:pt x="58" y="232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6" y="237"/>
                    <a:pt x="56" y="237"/>
                    <a:pt x="56" y="237"/>
                  </a:cubicBezTo>
                  <a:cubicBezTo>
                    <a:pt x="49" y="242"/>
                    <a:pt x="49" y="242"/>
                    <a:pt x="49" y="242"/>
                  </a:cubicBezTo>
                  <a:cubicBezTo>
                    <a:pt x="43" y="248"/>
                    <a:pt x="43" y="248"/>
                    <a:pt x="43" y="248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41" y="257"/>
                    <a:pt x="41" y="257"/>
                    <a:pt x="41" y="257"/>
                  </a:cubicBezTo>
                  <a:cubicBezTo>
                    <a:pt x="37" y="261"/>
                    <a:pt x="37" y="261"/>
                    <a:pt x="37" y="261"/>
                  </a:cubicBezTo>
                  <a:cubicBezTo>
                    <a:pt x="35" y="264"/>
                    <a:pt x="35" y="264"/>
                    <a:pt x="35" y="264"/>
                  </a:cubicBezTo>
                  <a:cubicBezTo>
                    <a:pt x="30" y="267"/>
                    <a:pt x="30" y="267"/>
                    <a:pt x="30" y="267"/>
                  </a:cubicBezTo>
                  <a:cubicBezTo>
                    <a:pt x="22" y="272"/>
                    <a:pt x="22" y="272"/>
                    <a:pt x="22" y="272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9" y="296"/>
                    <a:pt x="9" y="296"/>
                    <a:pt x="9" y="296"/>
                  </a:cubicBezTo>
                  <a:cubicBezTo>
                    <a:pt x="6" y="301"/>
                    <a:pt x="6" y="301"/>
                    <a:pt x="6" y="301"/>
                  </a:cubicBezTo>
                  <a:cubicBezTo>
                    <a:pt x="5" y="305"/>
                    <a:pt x="5" y="305"/>
                    <a:pt x="5" y="305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9" y="308"/>
                    <a:pt x="9" y="308"/>
                    <a:pt x="9" y="308"/>
                  </a:cubicBezTo>
                  <a:cubicBezTo>
                    <a:pt x="8" y="310"/>
                    <a:pt x="8" y="310"/>
                    <a:pt x="8" y="310"/>
                  </a:cubicBezTo>
                  <a:cubicBezTo>
                    <a:pt x="7" y="314"/>
                    <a:pt x="7" y="314"/>
                    <a:pt x="7" y="314"/>
                  </a:cubicBezTo>
                  <a:cubicBezTo>
                    <a:pt x="7" y="318"/>
                    <a:pt x="7" y="318"/>
                    <a:pt x="7" y="318"/>
                  </a:cubicBezTo>
                  <a:cubicBezTo>
                    <a:pt x="10" y="321"/>
                    <a:pt x="10" y="321"/>
                    <a:pt x="10" y="321"/>
                  </a:cubicBezTo>
                  <a:cubicBezTo>
                    <a:pt x="10" y="324"/>
                    <a:pt x="10" y="324"/>
                    <a:pt x="10" y="324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5" y="333"/>
                    <a:pt x="5" y="333"/>
                    <a:pt x="5" y="333"/>
                  </a:cubicBezTo>
                  <a:cubicBezTo>
                    <a:pt x="2" y="336"/>
                    <a:pt x="2" y="336"/>
                    <a:pt x="2" y="336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3" y="342"/>
                    <a:pt x="3" y="342"/>
                    <a:pt x="3" y="342"/>
                  </a:cubicBezTo>
                  <a:cubicBezTo>
                    <a:pt x="5" y="343"/>
                    <a:pt x="5" y="343"/>
                    <a:pt x="5" y="343"/>
                  </a:cubicBezTo>
                  <a:cubicBezTo>
                    <a:pt x="6" y="344"/>
                    <a:pt x="6" y="344"/>
                    <a:pt x="6" y="344"/>
                  </a:cubicBezTo>
                  <a:cubicBezTo>
                    <a:pt x="6" y="348"/>
                    <a:pt x="6" y="348"/>
                    <a:pt x="6" y="348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11" y="352"/>
                    <a:pt x="11" y="352"/>
                    <a:pt x="11" y="352"/>
                  </a:cubicBezTo>
                  <a:cubicBezTo>
                    <a:pt x="11" y="355"/>
                    <a:pt x="11" y="355"/>
                    <a:pt x="11" y="355"/>
                  </a:cubicBezTo>
                  <a:cubicBezTo>
                    <a:pt x="11" y="358"/>
                    <a:pt x="11" y="358"/>
                    <a:pt x="11" y="358"/>
                  </a:cubicBezTo>
                  <a:cubicBezTo>
                    <a:pt x="11" y="361"/>
                    <a:pt x="11" y="361"/>
                    <a:pt x="11" y="361"/>
                  </a:cubicBezTo>
                  <a:cubicBezTo>
                    <a:pt x="14" y="364"/>
                    <a:pt x="14" y="364"/>
                    <a:pt x="14" y="364"/>
                  </a:cubicBezTo>
                  <a:cubicBezTo>
                    <a:pt x="17" y="365"/>
                    <a:pt x="17" y="365"/>
                    <a:pt x="17" y="365"/>
                  </a:cubicBezTo>
                  <a:cubicBezTo>
                    <a:pt x="21" y="369"/>
                    <a:pt x="21" y="369"/>
                    <a:pt x="21" y="369"/>
                  </a:cubicBezTo>
                  <a:cubicBezTo>
                    <a:pt x="21" y="372"/>
                    <a:pt x="21" y="372"/>
                    <a:pt x="21" y="372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6" y="378"/>
                    <a:pt x="26" y="378"/>
                    <a:pt x="26" y="378"/>
                  </a:cubicBezTo>
                  <a:cubicBezTo>
                    <a:pt x="31" y="380"/>
                    <a:pt x="31" y="380"/>
                    <a:pt x="31" y="380"/>
                  </a:cubicBezTo>
                  <a:cubicBezTo>
                    <a:pt x="34" y="383"/>
                    <a:pt x="34" y="383"/>
                    <a:pt x="34" y="383"/>
                  </a:cubicBezTo>
                  <a:cubicBezTo>
                    <a:pt x="39" y="386"/>
                    <a:pt x="39" y="386"/>
                    <a:pt x="39" y="386"/>
                  </a:cubicBezTo>
                  <a:cubicBezTo>
                    <a:pt x="42" y="390"/>
                    <a:pt x="42" y="390"/>
                    <a:pt x="42" y="390"/>
                  </a:cubicBezTo>
                  <a:cubicBezTo>
                    <a:pt x="46" y="392"/>
                    <a:pt x="46" y="392"/>
                    <a:pt x="46" y="392"/>
                  </a:cubicBezTo>
                  <a:cubicBezTo>
                    <a:pt x="53" y="393"/>
                    <a:pt x="53" y="393"/>
                    <a:pt x="53" y="393"/>
                  </a:cubicBezTo>
                  <a:cubicBezTo>
                    <a:pt x="59" y="393"/>
                    <a:pt x="59" y="393"/>
                    <a:pt x="59" y="393"/>
                  </a:cubicBezTo>
                  <a:cubicBezTo>
                    <a:pt x="59" y="390"/>
                    <a:pt x="59" y="390"/>
                    <a:pt x="59" y="390"/>
                  </a:cubicBezTo>
                  <a:cubicBezTo>
                    <a:pt x="58" y="387"/>
                    <a:pt x="58" y="387"/>
                    <a:pt x="58" y="387"/>
                  </a:cubicBezTo>
                  <a:cubicBezTo>
                    <a:pt x="58" y="384"/>
                    <a:pt x="58" y="384"/>
                    <a:pt x="58" y="384"/>
                  </a:cubicBezTo>
                  <a:cubicBezTo>
                    <a:pt x="60" y="384"/>
                    <a:pt x="60" y="384"/>
                    <a:pt x="60" y="384"/>
                  </a:cubicBezTo>
                  <a:cubicBezTo>
                    <a:pt x="65" y="386"/>
                    <a:pt x="65" y="386"/>
                    <a:pt x="65" y="386"/>
                  </a:cubicBezTo>
                  <a:cubicBezTo>
                    <a:pt x="66" y="389"/>
                    <a:pt x="66" y="389"/>
                    <a:pt x="66" y="389"/>
                  </a:cubicBezTo>
                  <a:cubicBezTo>
                    <a:pt x="69" y="390"/>
                    <a:pt x="69" y="390"/>
                    <a:pt x="69" y="390"/>
                  </a:cubicBezTo>
                  <a:cubicBezTo>
                    <a:pt x="80" y="391"/>
                    <a:pt x="80" y="391"/>
                    <a:pt x="80" y="391"/>
                  </a:cubicBezTo>
                  <a:cubicBezTo>
                    <a:pt x="91" y="390"/>
                    <a:pt x="91" y="390"/>
                    <a:pt x="91" y="390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106" y="386"/>
                    <a:pt x="106" y="386"/>
                    <a:pt x="106" y="386"/>
                  </a:cubicBezTo>
                  <a:cubicBezTo>
                    <a:pt x="116" y="386"/>
                    <a:pt x="116" y="386"/>
                    <a:pt x="116" y="386"/>
                  </a:cubicBezTo>
                  <a:cubicBezTo>
                    <a:pt x="119" y="387"/>
                    <a:pt x="119" y="387"/>
                    <a:pt x="119" y="387"/>
                  </a:cubicBezTo>
                  <a:cubicBezTo>
                    <a:pt x="119" y="390"/>
                    <a:pt x="119" y="390"/>
                    <a:pt x="119" y="390"/>
                  </a:cubicBezTo>
                  <a:cubicBezTo>
                    <a:pt x="122" y="392"/>
                    <a:pt x="122" y="392"/>
                    <a:pt x="122" y="392"/>
                  </a:cubicBezTo>
                  <a:cubicBezTo>
                    <a:pt x="128" y="393"/>
                    <a:pt x="128" y="393"/>
                    <a:pt x="128" y="393"/>
                  </a:cubicBezTo>
                  <a:cubicBezTo>
                    <a:pt x="133" y="393"/>
                    <a:pt x="133" y="393"/>
                    <a:pt x="133" y="393"/>
                  </a:cubicBezTo>
                  <a:cubicBezTo>
                    <a:pt x="135" y="395"/>
                    <a:pt x="135" y="395"/>
                    <a:pt x="135" y="395"/>
                  </a:cubicBezTo>
                  <a:cubicBezTo>
                    <a:pt x="136" y="397"/>
                    <a:pt x="136" y="397"/>
                    <a:pt x="136" y="397"/>
                  </a:cubicBezTo>
                  <a:cubicBezTo>
                    <a:pt x="139" y="398"/>
                    <a:pt x="139" y="398"/>
                    <a:pt x="139" y="398"/>
                  </a:cubicBezTo>
                  <a:cubicBezTo>
                    <a:pt x="141" y="399"/>
                    <a:pt x="141" y="399"/>
                    <a:pt x="141" y="399"/>
                  </a:cubicBezTo>
                  <a:cubicBezTo>
                    <a:pt x="140" y="401"/>
                    <a:pt x="140" y="401"/>
                    <a:pt x="140" y="401"/>
                  </a:cubicBezTo>
                  <a:cubicBezTo>
                    <a:pt x="139" y="405"/>
                    <a:pt x="139" y="405"/>
                    <a:pt x="139" y="405"/>
                  </a:cubicBezTo>
                  <a:cubicBezTo>
                    <a:pt x="138" y="410"/>
                    <a:pt x="138" y="410"/>
                    <a:pt x="138" y="410"/>
                  </a:cubicBezTo>
                  <a:cubicBezTo>
                    <a:pt x="138" y="414"/>
                    <a:pt x="138" y="414"/>
                    <a:pt x="138" y="414"/>
                  </a:cubicBezTo>
                  <a:cubicBezTo>
                    <a:pt x="137" y="418"/>
                    <a:pt x="137" y="418"/>
                    <a:pt x="137" y="418"/>
                  </a:cubicBezTo>
                  <a:cubicBezTo>
                    <a:pt x="136" y="422"/>
                    <a:pt x="136" y="422"/>
                    <a:pt x="136" y="422"/>
                  </a:cubicBezTo>
                  <a:cubicBezTo>
                    <a:pt x="137" y="429"/>
                    <a:pt x="137" y="429"/>
                    <a:pt x="137" y="429"/>
                  </a:cubicBezTo>
                  <a:cubicBezTo>
                    <a:pt x="141" y="433"/>
                    <a:pt x="141" y="433"/>
                    <a:pt x="141" y="433"/>
                  </a:cubicBezTo>
                  <a:cubicBezTo>
                    <a:pt x="146" y="434"/>
                    <a:pt x="146" y="434"/>
                    <a:pt x="146" y="434"/>
                  </a:cubicBezTo>
                  <a:cubicBezTo>
                    <a:pt x="151" y="435"/>
                    <a:pt x="151" y="435"/>
                    <a:pt x="151" y="435"/>
                  </a:cubicBezTo>
                  <a:cubicBezTo>
                    <a:pt x="152" y="439"/>
                    <a:pt x="152" y="439"/>
                    <a:pt x="152" y="439"/>
                  </a:cubicBezTo>
                  <a:cubicBezTo>
                    <a:pt x="154" y="442"/>
                    <a:pt x="154" y="442"/>
                    <a:pt x="154" y="442"/>
                  </a:cubicBezTo>
                  <a:cubicBezTo>
                    <a:pt x="155" y="445"/>
                    <a:pt x="155" y="445"/>
                    <a:pt x="155" y="445"/>
                  </a:cubicBezTo>
                  <a:cubicBezTo>
                    <a:pt x="155" y="449"/>
                    <a:pt x="155" y="449"/>
                    <a:pt x="155" y="449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5"/>
                    <a:pt x="159" y="455"/>
                    <a:pt x="159" y="455"/>
                  </a:cubicBezTo>
                  <a:cubicBezTo>
                    <a:pt x="161" y="457"/>
                    <a:pt x="161" y="457"/>
                    <a:pt x="161" y="457"/>
                  </a:cubicBezTo>
                  <a:cubicBezTo>
                    <a:pt x="160" y="459"/>
                    <a:pt x="160" y="459"/>
                    <a:pt x="160" y="459"/>
                  </a:cubicBezTo>
                  <a:cubicBezTo>
                    <a:pt x="158" y="460"/>
                    <a:pt x="158" y="460"/>
                    <a:pt x="158" y="460"/>
                  </a:cubicBezTo>
                  <a:cubicBezTo>
                    <a:pt x="158" y="460"/>
                    <a:pt x="157" y="462"/>
                    <a:pt x="157" y="463"/>
                  </a:cubicBezTo>
                  <a:cubicBezTo>
                    <a:pt x="157" y="463"/>
                    <a:pt x="157" y="468"/>
                    <a:pt x="157" y="468"/>
                  </a:cubicBezTo>
                  <a:cubicBezTo>
                    <a:pt x="160" y="471"/>
                    <a:pt x="160" y="471"/>
                    <a:pt x="160" y="471"/>
                  </a:cubicBezTo>
                  <a:cubicBezTo>
                    <a:pt x="161" y="475"/>
                    <a:pt x="161" y="475"/>
                    <a:pt x="161" y="475"/>
                  </a:cubicBezTo>
                  <a:cubicBezTo>
                    <a:pt x="161" y="479"/>
                    <a:pt x="161" y="479"/>
                    <a:pt x="161" y="479"/>
                  </a:cubicBezTo>
                  <a:cubicBezTo>
                    <a:pt x="159" y="480"/>
                    <a:pt x="159" y="480"/>
                    <a:pt x="159" y="480"/>
                  </a:cubicBezTo>
                  <a:cubicBezTo>
                    <a:pt x="156" y="482"/>
                    <a:pt x="156" y="482"/>
                    <a:pt x="156" y="482"/>
                  </a:cubicBezTo>
                  <a:cubicBezTo>
                    <a:pt x="154" y="485"/>
                    <a:pt x="154" y="485"/>
                    <a:pt x="154" y="485"/>
                  </a:cubicBezTo>
                  <a:cubicBezTo>
                    <a:pt x="154" y="489"/>
                    <a:pt x="154" y="489"/>
                    <a:pt x="154" y="489"/>
                  </a:cubicBezTo>
                  <a:cubicBezTo>
                    <a:pt x="152" y="492"/>
                    <a:pt x="152" y="492"/>
                    <a:pt x="152" y="492"/>
                  </a:cubicBezTo>
                  <a:cubicBezTo>
                    <a:pt x="150" y="495"/>
                    <a:pt x="150" y="495"/>
                    <a:pt x="150" y="495"/>
                  </a:cubicBezTo>
                  <a:cubicBezTo>
                    <a:pt x="150" y="499"/>
                    <a:pt x="150" y="499"/>
                    <a:pt x="150" y="499"/>
                  </a:cubicBezTo>
                  <a:cubicBezTo>
                    <a:pt x="151" y="502"/>
                    <a:pt x="151" y="502"/>
                    <a:pt x="151" y="502"/>
                  </a:cubicBezTo>
                  <a:cubicBezTo>
                    <a:pt x="150" y="505"/>
                    <a:pt x="150" y="505"/>
                    <a:pt x="150" y="505"/>
                  </a:cubicBezTo>
                  <a:cubicBezTo>
                    <a:pt x="149" y="507"/>
                    <a:pt x="149" y="507"/>
                    <a:pt x="149" y="507"/>
                  </a:cubicBezTo>
                  <a:cubicBezTo>
                    <a:pt x="149" y="507"/>
                    <a:pt x="150" y="511"/>
                    <a:pt x="150" y="512"/>
                  </a:cubicBezTo>
                  <a:cubicBezTo>
                    <a:pt x="150" y="512"/>
                    <a:pt x="152" y="516"/>
                    <a:pt x="152" y="516"/>
                  </a:cubicBezTo>
                  <a:cubicBezTo>
                    <a:pt x="155" y="520"/>
                    <a:pt x="155" y="520"/>
                    <a:pt x="155" y="520"/>
                  </a:cubicBezTo>
                  <a:cubicBezTo>
                    <a:pt x="157" y="523"/>
                    <a:pt x="157" y="523"/>
                    <a:pt x="157" y="523"/>
                  </a:cubicBezTo>
                  <a:cubicBezTo>
                    <a:pt x="157" y="526"/>
                    <a:pt x="157" y="526"/>
                    <a:pt x="157" y="526"/>
                  </a:cubicBezTo>
                  <a:cubicBezTo>
                    <a:pt x="160" y="529"/>
                    <a:pt x="160" y="529"/>
                    <a:pt x="160" y="529"/>
                  </a:cubicBezTo>
                  <a:cubicBezTo>
                    <a:pt x="162" y="533"/>
                    <a:pt x="162" y="533"/>
                    <a:pt x="162" y="533"/>
                  </a:cubicBezTo>
                  <a:cubicBezTo>
                    <a:pt x="163" y="536"/>
                    <a:pt x="163" y="536"/>
                    <a:pt x="163" y="536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3"/>
                    <a:pt x="163" y="543"/>
                    <a:pt x="163" y="543"/>
                  </a:cubicBezTo>
                  <a:cubicBezTo>
                    <a:pt x="164" y="546"/>
                    <a:pt x="164" y="546"/>
                    <a:pt x="164" y="546"/>
                  </a:cubicBezTo>
                  <a:cubicBezTo>
                    <a:pt x="165" y="550"/>
                    <a:pt x="165" y="550"/>
                    <a:pt x="165" y="550"/>
                  </a:cubicBezTo>
                  <a:cubicBezTo>
                    <a:pt x="165" y="555"/>
                    <a:pt x="165" y="555"/>
                    <a:pt x="165" y="555"/>
                  </a:cubicBezTo>
                  <a:cubicBezTo>
                    <a:pt x="166" y="559"/>
                    <a:pt x="166" y="559"/>
                    <a:pt x="166" y="559"/>
                  </a:cubicBezTo>
                  <a:cubicBezTo>
                    <a:pt x="168" y="562"/>
                    <a:pt x="168" y="562"/>
                    <a:pt x="168" y="562"/>
                  </a:cubicBezTo>
                  <a:cubicBezTo>
                    <a:pt x="171" y="567"/>
                    <a:pt x="171" y="567"/>
                    <a:pt x="171" y="567"/>
                  </a:cubicBezTo>
                  <a:cubicBezTo>
                    <a:pt x="172" y="572"/>
                    <a:pt x="172" y="572"/>
                    <a:pt x="172" y="572"/>
                  </a:cubicBezTo>
                  <a:cubicBezTo>
                    <a:pt x="174" y="577"/>
                    <a:pt x="174" y="577"/>
                    <a:pt x="174" y="577"/>
                  </a:cubicBezTo>
                  <a:cubicBezTo>
                    <a:pt x="176" y="581"/>
                    <a:pt x="176" y="581"/>
                    <a:pt x="176" y="581"/>
                  </a:cubicBezTo>
                  <a:cubicBezTo>
                    <a:pt x="179" y="584"/>
                    <a:pt x="179" y="584"/>
                    <a:pt x="179" y="584"/>
                  </a:cubicBezTo>
                  <a:cubicBezTo>
                    <a:pt x="179" y="587"/>
                    <a:pt x="179" y="587"/>
                    <a:pt x="179" y="587"/>
                  </a:cubicBezTo>
                  <a:cubicBezTo>
                    <a:pt x="177" y="591"/>
                    <a:pt x="177" y="591"/>
                    <a:pt x="177" y="591"/>
                  </a:cubicBezTo>
                  <a:cubicBezTo>
                    <a:pt x="178" y="596"/>
                    <a:pt x="178" y="596"/>
                    <a:pt x="178" y="596"/>
                  </a:cubicBezTo>
                  <a:cubicBezTo>
                    <a:pt x="183" y="599"/>
                    <a:pt x="183" y="599"/>
                    <a:pt x="183" y="599"/>
                  </a:cubicBezTo>
                  <a:cubicBezTo>
                    <a:pt x="186" y="599"/>
                    <a:pt x="186" y="599"/>
                    <a:pt x="186" y="599"/>
                  </a:cubicBezTo>
                  <a:cubicBezTo>
                    <a:pt x="188" y="601"/>
                    <a:pt x="188" y="601"/>
                    <a:pt x="188" y="601"/>
                  </a:cubicBezTo>
                  <a:cubicBezTo>
                    <a:pt x="193" y="603"/>
                    <a:pt x="193" y="603"/>
                    <a:pt x="193" y="603"/>
                  </a:cubicBezTo>
                  <a:cubicBezTo>
                    <a:pt x="198" y="600"/>
                    <a:pt x="198" y="600"/>
                    <a:pt x="198" y="600"/>
                  </a:cubicBezTo>
                  <a:cubicBezTo>
                    <a:pt x="204" y="596"/>
                    <a:pt x="204" y="596"/>
                    <a:pt x="204" y="596"/>
                  </a:cubicBezTo>
                  <a:cubicBezTo>
                    <a:pt x="207" y="597"/>
                    <a:pt x="207" y="597"/>
                    <a:pt x="207" y="597"/>
                  </a:cubicBezTo>
                  <a:cubicBezTo>
                    <a:pt x="212" y="598"/>
                    <a:pt x="212" y="598"/>
                    <a:pt x="212" y="598"/>
                  </a:cubicBezTo>
                  <a:cubicBezTo>
                    <a:pt x="215" y="597"/>
                    <a:pt x="215" y="597"/>
                    <a:pt x="215" y="597"/>
                  </a:cubicBezTo>
                  <a:cubicBezTo>
                    <a:pt x="220" y="594"/>
                    <a:pt x="220" y="594"/>
                    <a:pt x="220" y="594"/>
                  </a:cubicBezTo>
                  <a:cubicBezTo>
                    <a:pt x="222" y="594"/>
                    <a:pt x="222" y="594"/>
                    <a:pt x="222" y="594"/>
                  </a:cubicBezTo>
                  <a:cubicBezTo>
                    <a:pt x="224" y="595"/>
                    <a:pt x="224" y="595"/>
                    <a:pt x="224" y="595"/>
                  </a:cubicBezTo>
                  <a:cubicBezTo>
                    <a:pt x="227" y="594"/>
                    <a:pt x="227" y="594"/>
                    <a:pt x="227" y="594"/>
                  </a:cubicBezTo>
                  <a:cubicBezTo>
                    <a:pt x="234" y="588"/>
                    <a:pt x="234" y="588"/>
                    <a:pt x="234" y="588"/>
                  </a:cubicBezTo>
                  <a:cubicBezTo>
                    <a:pt x="239" y="586"/>
                    <a:pt x="239" y="586"/>
                    <a:pt x="239" y="586"/>
                  </a:cubicBezTo>
                  <a:cubicBezTo>
                    <a:pt x="242" y="581"/>
                    <a:pt x="242" y="581"/>
                    <a:pt x="242" y="581"/>
                  </a:cubicBezTo>
                  <a:cubicBezTo>
                    <a:pt x="244" y="572"/>
                    <a:pt x="244" y="572"/>
                    <a:pt x="244" y="572"/>
                  </a:cubicBezTo>
                  <a:cubicBezTo>
                    <a:pt x="247" y="570"/>
                    <a:pt x="247" y="570"/>
                    <a:pt x="247" y="570"/>
                  </a:cubicBezTo>
                  <a:cubicBezTo>
                    <a:pt x="252" y="568"/>
                    <a:pt x="252" y="568"/>
                    <a:pt x="252" y="568"/>
                  </a:cubicBezTo>
                  <a:cubicBezTo>
                    <a:pt x="255" y="562"/>
                    <a:pt x="255" y="562"/>
                    <a:pt x="255" y="562"/>
                  </a:cubicBezTo>
                  <a:cubicBezTo>
                    <a:pt x="257" y="559"/>
                    <a:pt x="257" y="559"/>
                    <a:pt x="257" y="559"/>
                  </a:cubicBezTo>
                  <a:cubicBezTo>
                    <a:pt x="256" y="555"/>
                    <a:pt x="256" y="555"/>
                    <a:pt x="256" y="555"/>
                  </a:cubicBezTo>
                  <a:cubicBezTo>
                    <a:pt x="254" y="554"/>
                    <a:pt x="254" y="554"/>
                    <a:pt x="254" y="554"/>
                  </a:cubicBezTo>
                  <a:cubicBezTo>
                    <a:pt x="256" y="551"/>
                    <a:pt x="256" y="551"/>
                    <a:pt x="256" y="551"/>
                  </a:cubicBezTo>
                  <a:cubicBezTo>
                    <a:pt x="260" y="549"/>
                    <a:pt x="260" y="549"/>
                    <a:pt x="260" y="549"/>
                  </a:cubicBezTo>
                  <a:cubicBezTo>
                    <a:pt x="265" y="545"/>
                    <a:pt x="265" y="545"/>
                    <a:pt x="265" y="545"/>
                  </a:cubicBezTo>
                  <a:cubicBezTo>
                    <a:pt x="266" y="542"/>
                    <a:pt x="266" y="542"/>
                    <a:pt x="266" y="542"/>
                  </a:cubicBezTo>
                  <a:cubicBezTo>
                    <a:pt x="267" y="536"/>
                    <a:pt x="267" y="536"/>
                    <a:pt x="267" y="536"/>
                  </a:cubicBezTo>
                  <a:cubicBezTo>
                    <a:pt x="267" y="531"/>
                    <a:pt x="267" y="531"/>
                    <a:pt x="267" y="531"/>
                  </a:cubicBezTo>
                  <a:cubicBezTo>
                    <a:pt x="266" y="524"/>
                    <a:pt x="266" y="524"/>
                    <a:pt x="266" y="524"/>
                  </a:cubicBezTo>
                  <a:cubicBezTo>
                    <a:pt x="270" y="519"/>
                    <a:pt x="270" y="519"/>
                    <a:pt x="270" y="519"/>
                  </a:cubicBezTo>
                  <a:cubicBezTo>
                    <a:pt x="276" y="514"/>
                    <a:pt x="276" y="514"/>
                    <a:pt x="276" y="514"/>
                  </a:cubicBezTo>
                  <a:cubicBezTo>
                    <a:pt x="281" y="508"/>
                    <a:pt x="281" y="508"/>
                    <a:pt x="281" y="508"/>
                  </a:cubicBezTo>
                  <a:cubicBezTo>
                    <a:pt x="288" y="503"/>
                    <a:pt x="288" y="503"/>
                    <a:pt x="288" y="503"/>
                  </a:cubicBezTo>
                  <a:cubicBezTo>
                    <a:pt x="292" y="497"/>
                    <a:pt x="292" y="497"/>
                    <a:pt x="292" y="497"/>
                  </a:cubicBezTo>
                  <a:cubicBezTo>
                    <a:pt x="297" y="490"/>
                    <a:pt x="297" y="490"/>
                    <a:pt x="297" y="490"/>
                  </a:cubicBezTo>
                  <a:cubicBezTo>
                    <a:pt x="296" y="484"/>
                    <a:pt x="296" y="484"/>
                    <a:pt x="296" y="484"/>
                  </a:cubicBezTo>
                  <a:cubicBezTo>
                    <a:pt x="296" y="478"/>
                    <a:pt x="296" y="478"/>
                    <a:pt x="296" y="478"/>
                  </a:cubicBezTo>
                  <a:cubicBezTo>
                    <a:pt x="294" y="473"/>
                    <a:pt x="294" y="473"/>
                    <a:pt x="294" y="473"/>
                  </a:cubicBezTo>
                  <a:cubicBezTo>
                    <a:pt x="292" y="471"/>
                    <a:pt x="292" y="471"/>
                    <a:pt x="292" y="471"/>
                  </a:cubicBezTo>
                  <a:cubicBezTo>
                    <a:pt x="291" y="465"/>
                    <a:pt x="291" y="465"/>
                    <a:pt x="291" y="465"/>
                  </a:cubicBezTo>
                  <a:cubicBezTo>
                    <a:pt x="290" y="461"/>
                    <a:pt x="290" y="461"/>
                    <a:pt x="290" y="461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289" y="451"/>
                    <a:pt x="289" y="451"/>
                    <a:pt x="289" y="451"/>
                  </a:cubicBezTo>
                  <a:cubicBezTo>
                    <a:pt x="286" y="450"/>
                    <a:pt x="286" y="450"/>
                    <a:pt x="286" y="450"/>
                  </a:cubicBezTo>
                  <a:cubicBezTo>
                    <a:pt x="285" y="447"/>
                    <a:pt x="285" y="447"/>
                    <a:pt x="285" y="447"/>
                  </a:cubicBezTo>
                  <a:cubicBezTo>
                    <a:pt x="288" y="441"/>
                    <a:pt x="288" y="441"/>
                    <a:pt x="288" y="441"/>
                  </a:cubicBezTo>
                  <a:cubicBezTo>
                    <a:pt x="293" y="433"/>
                    <a:pt x="293" y="433"/>
                    <a:pt x="293" y="433"/>
                  </a:cubicBezTo>
                  <a:cubicBezTo>
                    <a:pt x="299" y="424"/>
                    <a:pt x="299" y="424"/>
                    <a:pt x="299" y="424"/>
                  </a:cubicBezTo>
                  <a:cubicBezTo>
                    <a:pt x="309" y="419"/>
                    <a:pt x="309" y="419"/>
                    <a:pt x="309" y="419"/>
                  </a:cubicBezTo>
                  <a:cubicBezTo>
                    <a:pt x="316" y="412"/>
                    <a:pt x="316" y="412"/>
                    <a:pt x="316" y="412"/>
                  </a:cubicBezTo>
                  <a:cubicBezTo>
                    <a:pt x="322" y="404"/>
                    <a:pt x="322" y="404"/>
                    <a:pt x="322" y="404"/>
                  </a:cubicBezTo>
                  <a:cubicBezTo>
                    <a:pt x="327" y="400"/>
                    <a:pt x="327" y="400"/>
                    <a:pt x="327" y="400"/>
                  </a:cubicBezTo>
                  <a:cubicBezTo>
                    <a:pt x="331" y="392"/>
                    <a:pt x="331" y="392"/>
                    <a:pt x="331" y="392"/>
                  </a:cubicBezTo>
                  <a:cubicBezTo>
                    <a:pt x="338" y="384"/>
                    <a:pt x="338" y="384"/>
                    <a:pt x="338" y="384"/>
                  </a:cubicBezTo>
                  <a:cubicBezTo>
                    <a:pt x="340" y="375"/>
                    <a:pt x="340" y="375"/>
                    <a:pt x="340" y="375"/>
                  </a:cubicBezTo>
                  <a:cubicBezTo>
                    <a:pt x="344" y="369"/>
                    <a:pt x="344" y="369"/>
                    <a:pt x="344" y="369"/>
                  </a:cubicBezTo>
                  <a:cubicBezTo>
                    <a:pt x="345" y="364"/>
                    <a:pt x="345" y="364"/>
                    <a:pt x="345" y="364"/>
                  </a:cubicBezTo>
                  <a:cubicBezTo>
                    <a:pt x="345" y="360"/>
                    <a:pt x="345" y="360"/>
                    <a:pt x="345" y="360"/>
                  </a:cubicBezTo>
                  <a:cubicBezTo>
                    <a:pt x="346" y="357"/>
                    <a:pt x="346" y="357"/>
                    <a:pt x="346" y="357"/>
                  </a:cubicBezTo>
                  <a:cubicBezTo>
                    <a:pt x="346" y="355"/>
                    <a:pt x="346" y="355"/>
                    <a:pt x="346" y="355"/>
                  </a:cubicBezTo>
                  <a:cubicBezTo>
                    <a:pt x="343" y="356"/>
                    <a:pt x="343" y="356"/>
                    <a:pt x="343" y="356"/>
                  </a:cubicBezTo>
                  <a:cubicBezTo>
                    <a:pt x="340" y="357"/>
                    <a:pt x="340" y="357"/>
                    <a:pt x="340" y="357"/>
                  </a:cubicBezTo>
                  <a:cubicBezTo>
                    <a:pt x="334" y="359"/>
                    <a:pt x="334" y="359"/>
                    <a:pt x="334" y="359"/>
                  </a:cubicBezTo>
                  <a:cubicBezTo>
                    <a:pt x="327" y="361"/>
                    <a:pt x="327" y="361"/>
                    <a:pt x="327" y="361"/>
                  </a:cubicBezTo>
                  <a:cubicBezTo>
                    <a:pt x="321" y="361"/>
                    <a:pt x="321" y="361"/>
                    <a:pt x="321" y="361"/>
                  </a:cubicBezTo>
                  <a:cubicBezTo>
                    <a:pt x="317" y="360"/>
                    <a:pt x="317" y="360"/>
                    <a:pt x="317" y="360"/>
                  </a:cubicBezTo>
                  <a:cubicBezTo>
                    <a:pt x="313" y="358"/>
                    <a:pt x="313" y="358"/>
                    <a:pt x="313" y="358"/>
                  </a:cubicBezTo>
                  <a:cubicBezTo>
                    <a:pt x="307" y="357"/>
                    <a:pt x="307" y="357"/>
                    <a:pt x="307" y="357"/>
                  </a:cubicBezTo>
                  <a:cubicBezTo>
                    <a:pt x="307" y="355"/>
                    <a:pt x="307" y="355"/>
                    <a:pt x="307" y="355"/>
                  </a:cubicBezTo>
                  <a:cubicBezTo>
                    <a:pt x="309" y="353"/>
                    <a:pt x="309" y="353"/>
                    <a:pt x="309" y="353"/>
                  </a:cubicBezTo>
                  <a:cubicBezTo>
                    <a:pt x="307" y="349"/>
                    <a:pt x="307" y="349"/>
                    <a:pt x="307" y="349"/>
                  </a:cubicBezTo>
                  <a:cubicBezTo>
                    <a:pt x="302" y="348"/>
                    <a:pt x="302" y="348"/>
                    <a:pt x="302" y="348"/>
                  </a:cubicBezTo>
                  <a:cubicBezTo>
                    <a:pt x="301" y="344"/>
                    <a:pt x="301" y="344"/>
                    <a:pt x="301" y="344"/>
                  </a:cubicBezTo>
                  <a:cubicBezTo>
                    <a:pt x="294" y="341"/>
                    <a:pt x="294" y="341"/>
                    <a:pt x="294" y="341"/>
                  </a:cubicBezTo>
                  <a:cubicBezTo>
                    <a:pt x="292" y="338"/>
                    <a:pt x="292" y="338"/>
                    <a:pt x="292" y="338"/>
                  </a:cubicBezTo>
                  <a:cubicBezTo>
                    <a:pt x="290" y="330"/>
                    <a:pt x="290" y="330"/>
                    <a:pt x="290" y="330"/>
                  </a:cubicBezTo>
                  <a:cubicBezTo>
                    <a:pt x="288" y="323"/>
                    <a:pt x="288" y="323"/>
                    <a:pt x="288" y="323"/>
                  </a:cubicBezTo>
                  <a:cubicBezTo>
                    <a:pt x="284" y="321"/>
                    <a:pt x="284" y="321"/>
                    <a:pt x="284" y="321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79" y="312"/>
                    <a:pt x="279" y="312"/>
                    <a:pt x="279" y="312"/>
                  </a:cubicBezTo>
                  <a:cubicBezTo>
                    <a:pt x="278" y="303"/>
                    <a:pt x="278" y="303"/>
                    <a:pt x="278" y="303"/>
                  </a:cubicBezTo>
                  <a:cubicBezTo>
                    <a:pt x="274" y="297"/>
                    <a:pt x="274" y="297"/>
                    <a:pt x="274" y="297"/>
                  </a:cubicBezTo>
                  <a:cubicBezTo>
                    <a:pt x="272" y="294"/>
                    <a:pt x="272" y="294"/>
                    <a:pt x="272" y="294"/>
                  </a:cubicBezTo>
                  <a:cubicBezTo>
                    <a:pt x="272" y="289"/>
                    <a:pt x="272" y="289"/>
                    <a:pt x="272" y="289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6" y="279"/>
                    <a:pt x="266" y="279"/>
                    <a:pt x="266" y="279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261" y="272"/>
                    <a:pt x="261" y="272"/>
                    <a:pt x="261" y="272"/>
                  </a:cubicBezTo>
                  <a:cubicBezTo>
                    <a:pt x="259" y="269"/>
                    <a:pt x="259" y="269"/>
                    <a:pt x="259" y="269"/>
                  </a:cubicBezTo>
                  <a:cubicBezTo>
                    <a:pt x="258" y="263"/>
                    <a:pt x="258" y="263"/>
                    <a:pt x="258" y="263"/>
                  </a:cubicBezTo>
                  <a:cubicBezTo>
                    <a:pt x="259" y="261"/>
                    <a:pt x="259" y="261"/>
                    <a:pt x="259" y="261"/>
                  </a:cubicBezTo>
                  <a:cubicBezTo>
                    <a:pt x="261" y="262"/>
                    <a:pt x="261" y="262"/>
                    <a:pt x="261" y="262"/>
                  </a:cubicBezTo>
                  <a:cubicBezTo>
                    <a:pt x="261" y="262"/>
                    <a:pt x="261" y="264"/>
                    <a:pt x="261" y="265"/>
                  </a:cubicBezTo>
                  <a:cubicBezTo>
                    <a:pt x="262" y="265"/>
                    <a:pt x="263" y="269"/>
                    <a:pt x="263" y="269"/>
                  </a:cubicBezTo>
                  <a:cubicBezTo>
                    <a:pt x="265" y="270"/>
                    <a:pt x="265" y="270"/>
                    <a:pt x="265" y="270"/>
                  </a:cubicBezTo>
                  <a:cubicBezTo>
                    <a:pt x="266" y="268"/>
                    <a:pt x="266" y="268"/>
                    <a:pt x="266" y="268"/>
                  </a:cubicBezTo>
                  <a:cubicBezTo>
                    <a:pt x="267" y="265"/>
                    <a:pt x="267" y="265"/>
                    <a:pt x="267" y="265"/>
                  </a:cubicBezTo>
                  <a:cubicBezTo>
                    <a:pt x="269" y="266"/>
                    <a:pt x="269" y="266"/>
                    <a:pt x="269" y="266"/>
                  </a:cubicBezTo>
                  <a:cubicBezTo>
                    <a:pt x="273" y="273"/>
                    <a:pt x="273" y="273"/>
                    <a:pt x="273" y="273"/>
                  </a:cubicBezTo>
                  <a:cubicBezTo>
                    <a:pt x="277" y="279"/>
                    <a:pt x="277" y="279"/>
                    <a:pt x="277" y="279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0" y="286"/>
                    <a:pt x="280" y="286"/>
                    <a:pt x="280" y="286"/>
                  </a:cubicBezTo>
                  <a:cubicBezTo>
                    <a:pt x="281" y="290"/>
                    <a:pt x="281" y="290"/>
                    <a:pt x="281" y="290"/>
                  </a:cubicBezTo>
                  <a:cubicBezTo>
                    <a:pt x="283" y="291"/>
                    <a:pt x="283" y="291"/>
                    <a:pt x="283" y="291"/>
                  </a:cubicBezTo>
                  <a:cubicBezTo>
                    <a:pt x="287" y="294"/>
                    <a:pt x="287" y="294"/>
                    <a:pt x="287" y="294"/>
                  </a:cubicBezTo>
                  <a:cubicBezTo>
                    <a:pt x="290" y="296"/>
                    <a:pt x="290" y="296"/>
                    <a:pt x="290" y="296"/>
                  </a:cubicBezTo>
                  <a:cubicBezTo>
                    <a:pt x="290" y="298"/>
                    <a:pt x="290" y="298"/>
                    <a:pt x="290" y="298"/>
                  </a:cubicBezTo>
                  <a:cubicBezTo>
                    <a:pt x="291" y="302"/>
                    <a:pt x="291" y="302"/>
                    <a:pt x="291" y="302"/>
                  </a:cubicBezTo>
                  <a:cubicBezTo>
                    <a:pt x="291" y="306"/>
                    <a:pt x="291" y="306"/>
                    <a:pt x="291" y="306"/>
                  </a:cubicBezTo>
                  <a:cubicBezTo>
                    <a:pt x="297" y="311"/>
                    <a:pt x="297" y="311"/>
                    <a:pt x="297" y="311"/>
                  </a:cubicBezTo>
                  <a:cubicBezTo>
                    <a:pt x="297" y="314"/>
                    <a:pt x="297" y="314"/>
                    <a:pt x="297" y="314"/>
                  </a:cubicBezTo>
                  <a:cubicBezTo>
                    <a:pt x="300" y="318"/>
                    <a:pt x="300" y="318"/>
                    <a:pt x="300" y="318"/>
                  </a:cubicBezTo>
                  <a:cubicBezTo>
                    <a:pt x="302" y="321"/>
                    <a:pt x="302" y="321"/>
                    <a:pt x="302" y="321"/>
                  </a:cubicBezTo>
                  <a:cubicBezTo>
                    <a:pt x="303" y="325"/>
                    <a:pt x="303" y="325"/>
                    <a:pt x="303" y="325"/>
                  </a:cubicBezTo>
                  <a:cubicBezTo>
                    <a:pt x="304" y="329"/>
                    <a:pt x="304" y="329"/>
                    <a:pt x="304" y="329"/>
                  </a:cubicBezTo>
                  <a:cubicBezTo>
                    <a:pt x="305" y="330"/>
                    <a:pt x="305" y="330"/>
                    <a:pt x="305" y="330"/>
                  </a:cubicBezTo>
                  <a:cubicBezTo>
                    <a:pt x="307" y="331"/>
                    <a:pt x="307" y="331"/>
                    <a:pt x="307" y="331"/>
                  </a:cubicBezTo>
                  <a:cubicBezTo>
                    <a:pt x="308" y="334"/>
                    <a:pt x="308" y="334"/>
                    <a:pt x="308" y="334"/>
                  </a:cubicBezTo>
                  <a:cubicBezTo>
                    <a:pt x="308" y="334"/>
                    <a:pt x="308" y="337"/>
                    <a:pt x="308" y="338"/>
                  </a:cubicBezTo>
                  <a:cubicBezTo>
                    <a:pt x="308" y="339"/>
                    <a:pt x="309" y="343"/>
                    <a:pt x="309" y="343"/>
                  </a:cubicBezTo>
                  <a:cubicBezTo>
                    <a:pt x="312" y="347"/>
                    <a:pt x="312" y="347"/>
                    <a:pt x="312" y="347"/>
                  </a:cubicBezTo>
                  <a:cubicBezTo>
                    <a:pt x="315" y="348"/>
                    <a:pt x="315" y="348"/>
                    <a:pt x="315" y="348"/>
                  </a:cubicBezTo>
                  <a:cubicBezTo>
                    <a:pt x="323" y="346"/>
                    <a:pt x="323" y="346"/>
                    <a:pt x="323" y="346"/>
                  </a:cubicBezTo>
                  <a:cubicBezTo>
                    <a:pt x="327" y="346"/>
                    <a:pt x="327" y="346"/>
                    <a:pt x="327" y="346"/>
                  </a:cubicBezTo>
                  <a:cubicBezTo>
                    <a:pt x="333" y="346"/>
                    <a:pt x="333" y="346"/>
                    <a:pt x="333" y="346"/>
                  </a:cubicBezTo>
                  <a:cubicBezTo>
                    <a:pt x="344" y="341"/>
                    <a:pt x="344" y="341"/>
                    <a:pt x="344" y="341"/>
                  </a:cubicBezTo>
                  <a:cubicBezTo>
                    <a:pt x="349" y="339"/>
                    <a:pt x="349" y="339"/>
                    <a:pt x="349" y="339"/>
                  </a:cubicBezTo>
                  <a:cubicBezTo>
                    <a:pt x="353" y="337"/>
                    <a:pt x="353" y="337"/>
                    <a:pt x="353" y="337"/>
                  </a:cubicBezTo>
                  <a:cubicBezTo>
                    <a:pt x="356" y="333"/>
                    <a:pt x="356" y="333"/>
                    <a:pt x="356" y="333"/>
                  </a:cubicBezTo>
                  <a:cubicBezTo>
                    <a:pt x="361" y="332"/>
                    <a:pt x="361" y="332"/>
                    <a:pt x="361" y="332"/>
                  </a:cubicBezTo>
                  <a:cubicBezTo>
                    <a:pt x="365" y="331"/>
                    <a:pt x="365" y="331"/>
                    <a:pt x="365" y="331"/>
                  </a:cubicBezTo>
                  <a:cubicBezTo>
                    <a:pt x="367" y="329"/>
                    <a:pt x="367" y="329"/>
                    <a:pt x="367" y="329"/>
                  </a:cubicBezTo>
                  <a:cubicBezTo>
                    <a:pt x="367" y="326"/>
                    <a:pt x="367" y="326"/>
                    <a:pt x="367" y="326"/>
                  </a:cubicBezTo>
                  <a:cubicBezTo>
                    <a:pt x="370" y="325"/>
                    <a:pt x="370" y="325"/>
                    <a:pt x="370" y="325"/>
                  </a:cubicBezTo>
                  <a:cubicBezTo>
                    <a:pt x="374" y="323"/>
                    <a:pt x="374" y="323"/>
                    <a:pt x="374" y="323"/>
                  </a:cubicBezTo>
                  <a:cubicBezTo>
                    <a:pt x="378" y="319"/>
                    <a:pt x="378" y="319"/>
                    <a:pt x="378" y="319"/>
                  </a:cubicBezTo>
                  <a:cubicBezTo>
                    <a:pt x="379" y="315"/>
                    <a:pt x="379" y="315"/>
                    <a:pt x="379" y="315"/>
                  </a:cubicBezTo>
                  <a:cubicBezTo>
                    <a:pt x="380" y="311"/>
                    <a:pt x="380" y="311"/>
                    <a:pt x="380" y="311"/>
                  </a:cubicBezTo>
                  <a:cubicBezTo>
                    <a:pt x="382" y="308"/>
                    <a:pt x="382" y="308"/>
                    <a:pt x="382" y="308"/>
                  </a:cubicBezTo>
                  <a:cubicBezTo>
                    <a:pt x="383" y="305"/>
                    <a:pt x="383" y="305"/>
                    <a:pt x="383" y="305"/>
                  </a:cubicBezTo>
                  <a:cubicBezTo>
                    <a:pt x="386" y="301"/>
                    <a:pt x="386" y="301"/>
                    <a:pt x="386" y="301"/>
                  </a:cubicBezTo>
                  <a:cubicBezTo>
                    <a:pt x="386" y="298"/>
                    <a:pt x="386" y="298"/>
                    <a:pt x="386" y="298"/>
                  </a:cubicBezTo>
                  <a:cubicBezTo>
                    <a:pt x="380" y="293"/>
                    <a:pt x="380" y="293"/>
                    <a:pt x="380" y="293"/>
                  </a:cubicBezTo>
                  <a:cubicBezTo>
                    <a:pt x="372" y="292"/>
                    <a:pt x="372" y="292"/>
                    <a:pt x="372" y="292"/>
                  </a:cubicBezTo>
                  <a:cubicBezTo>
                    <a:pt x="371" y="289"/>
                    <a:pt x="371" y="289"/>
                    <a:pt x="371" y="289"/>
                  </a:cubicBezTo>
                  <a:cubicBezTo>
                    <a:pt x="370" y="282"/>
                    <a:pt x="370" y="282"/>
                    <a:pt x="370" y="282"/>
                  </a:cubicBezTo>
                  <a:cubicBezTo>
                    <a:pt x="367" y="282"/>
                    <a:pt x="367" y="282"/>
                    <a:pt x="367" y="282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1" y="288"/>
                    <a:pt x="361" y="288"/>
                    <a:pt x="361" y="288"/>
                  </a:cubicBezTo>
                  <a:cubicBezTo>
                    <a:pt x="356" y="292"/>
                    <a:pt x="356" y="292"/>
                    <a:pt x="356" y="292"/>
                  </a:cubicBezTo>
                  <a:cubicBezTo>
                    <a:pt x="351" y="292"/>
                    <a:pt x="351" y="292"/>
                    <a:pt x="351" y="292"/>
                  </a:cubicBezTo>
                  <a:cubicBezTo>
                    <a:pt x="349" y="290"/>
                    <a:pt x="349" y="290"/>
                    <a:pt x="349" y="290"/>
                  </a:cubicBezTo>
                  <a:cubicBezTo>
                    <a:pt x="348" y="287"/>
                    <a:pt x="348" y="287"/>
                    <a:pt x="348" y="287"/>
                  </a:cubicBezTo>
                  <a:cubicBezTo>
                    <a:pt x="348" y="282"/>
                    <a:pt x="348" y="282"/>
                    <a:pt x="348" y="282"/>
                  </a:cubicBezTo>
                  <a:cubicBezTo>
                    <a:pt x="345" y="282"/>
                    <a:pt x="345" y="282"/>
                    <a:pt x="345" y="282"/>
                  </a:cubicBezTo>
                  <a:cubicBezTo>
                    <a:pt x="343" y="284"/>
                    <a:pt x="343" y="284"/>
                    <a:pt x="343" y="284"/>
                  </a:cubicBezTo>
                  <a:cubicBezTo>
                    <a:pt x="340" y="284"/>
                    <a:pt x="340" y="284"/>
                    <a:pt x="340" y="284"/>
                  </a:cubicBezTo>
                  <a:cubicBezTo>
                    <a:pt x="338" y="281"/>
                    <a:pt x="338" y="281"/>
                    <a:pt x="338" y="281"/>
                  </a:cubicBezTo>
                  <a:cubicBezTo>
                    <a:pt x="338" y="278"/>
                    <a:pt x="338" y="278"/>
                    <a:pt x="338" y="278"/>
                  </a:cubicBezTo>
                  <a:cubicBezTo>
                    <a:pt x="336" y="276"/>
                    <a:pt x="336" y="276"/>
                    <a:pt x="336" y="276"/>
                  </a:cubicBezTo>
                  <a:cubicBezTo>
                    <a:pt x="335" y="272"/>
                    <a:pt x="335" y="272"/>
                    <a:pt x="335" y="272"/>
                  </a:cubicBezTo>
                  <a:cubicBezTo>
                    <a:pt x="332" y="269"/>
                    <a:pt x="332" y="269"/>
                    <a:pt x="332" y="269"/>
                  </a:cubicBezTo>
                  <a:cubicBezTo>
                    <a:pt x="325" y="265"/>
                    <a:pt x="325" y="265"/>
                    <a:pt x="325" y="265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1" y="260"/>
                    <a:pt x="331" y="260"/>
                    <a:pt x="331" y="260"/>
                  </a:cubicBezTo>
                  <a:cubicBezTo>
                    <a:pt x="338" y="260"/>
                    <a:pt x="338" y="260"/>
                    <a:pt x="338" y="260"/>
                  </a:cubicBezTo>
                  <a:cubicBezTo>
                    <a:pt x="341" y="261"/>
                    <a:pt x="341" y="261"/>
                    <a:pt x="341" y="261"/>
                  </a:cubicBezTo>
                  <a:cubicBezTo>
                    <a:pt x="342" y="266"/>
                    <a:pt x="342" y="266"/>
                    <a:pt x="342" y="266"/>
                  </a:cubicBezTo>
                  <a:cubicBezTo>
                    <a:pt x="344" y="268"/>
                    <a:pt x="344" y="268"/>
                    <a:pt x="344" y="268"/>
                  </a:cubicBezTo>
                  <a:cubicBezTo>
                    <a:pt x="345" y="271"/>
                    <a:pt x="345" y="271"/>
                    <a:pt x="345" y="271"/>
                  </a:cubicBezTo>
                  <a:cubicBezTo>
                    <a:pt x="347" y="274"/>
                    <a:pt x="347" y="274"/>
                    <a:pt x="347" y="274"/>
                  </a:cubicBezTo>
                  <a:cubicBezTo>
                    <a:pt x="350" y="274"/>
                    <a:pt x="350" y="274"/>
                    <a:pt x="350" y="274"/>
                  </a:cubicBezTo>
                  <a:cubicBezTo>
                    <a:pt x="353" y="276"/>
                    <a:pt x="353" y="276"/>
                    <a:pt x="353" y="276"/>
                  </a:cubicBezTo>
                  <a:cubicBezTo>
                    <a:pt x="357" y="277"/>
                    <a:pt x="357" y="277"/>
                    <a:pt x="357" y="277"/>
                  </a:cubicBezTo>
                  <a:cubicBezTo>
                    <a:pt x="361" y="278"/>
                    <a:pt x="361" y="278"/>
                    <a:pt x="361" y="278"/>
                  </a:cubicBezTo>
                  <a:cubicBezTo>
                    <a:pt x="368" y="278"/>
                    <a:pt x="368" y="278"/>
                    <a:pt x="368" y="278"/>
                  </a:cubicBezTo>
                  <a:cubicBezTo>
                    <a:pt x="371" y="278"/>
                    <a:pt x="371" y="278"/>
                    <a:pt x="371" y="278"/>
                  </a:cubicBezTo>
                  <a:cubicBezTo>
                    <a:pt x="373" y="280"/>
                    <a:pt x="373" y="280"/>
                    <a:pt x="373" y="280"/>
                  </a:cubicBezTo>
                  <a:cubicBezTo>
                    <a:pt x="375" y="282"/>
                    <a:pt x="375" y="282"/>
                    <a:pt x="375" y="282"/>
                  </a:cubicBezTo>
                  <a:cubicBezTo>
                    <a:pt x="379" y="284"/>
                    <a:pt x="379" y="284"/>
                    <a:pt x="379" y="284"/>
                  </a:cubicBezTo>
                  <a:cubicBezTo>
                    <a:pt x="385" y="285"/>
                    <a:pt x="385" y="285"/>
                    <a:pt x="385" y="285"/>
                  </a:cubicBezTo>
                  <a:cubicBezTo>
                    <a:pt x="394" y="285"/>
                    <a:pt x="394" y="285"/>
                    <a:pt x="394" y="285"/>
                  </a:cubicBezTo>
                  <a:cubicBezTo>
                    <a:pt x="401" y="285"/>
                    <a:pt x="401" y="285"/>
                    <a:pt x="401" y="285"/>
                  </a:cubicBezTo>
                  <a:cubicBezTo>
                    <a:pt x="414" y="285"/>
                    <a:pt x="414" y="285"/>
                    <a:pt x="414" y="285"/>
                  </a:cubicBezTo>
                  <a:cubicBezTo>
                    <a:pt x="416" y="287"/>
                    <a:pt x="416" y="287"/>
                    <a:pt x="416" y="287"/>
                  </a:cubicBezTo>
                  <a:cubicBezTo>
                    <a:pt x="419" y="291"/>
                    <a:pt x="419" y="291"/>
                    <a:pt x="419" y="291"/>
                  </a:cubicBezTo>
                  <a:cubicBezTo>
                    <a:pt x="421" y="296"/>
                    <a:pt x="421" y="296"/>
                    <a:pt x="421" y="296"/>
                  </a:cubicBezTo>
                  <a:cubicBezTo>
                    <a:pt x="424" y="297"/>
                    <a:pt x="424" y="297"/>
                    <a:pt x="424" y="297"/>
                  </a:cubicBezTo>
                  <a:cubicBezTo>
                    <a:pt x="431" y="297"/>
                    <a:pt x="431" y="297"/>
                    <a:pt x="431" y="297"/>
                  </a:cubicBezTo>
                  <a:cubicBezTo>
                    <a:pt x="434" y="298"/>
                    <a:pt x="434" y="298"/>
                    <a:pt x="434" y="298"/>
                  </a:cubicBezTo>
                  <a:cubicBezTo>
                    <a:pt x="435" y="299"/>
                    <a:pt x="435" y="299"/>
                    <a:pt x="435" y="299"/>
                  </a:cubicBezTo>
                  <a:cubicBezTo>
                    <a:pt x="434" y="300"/>
                    <a:pt x="434" y="300"/>
                    <a:pt x="434" y="300"/>
                  </a:cubicBezTo>
                  <a:cubicBezTo>
                    <a:pt x="432" y="302"/>
                    <a:pt x="432" y="302"/>
                    <a:pt x="432" y="302"/>
                  </a:cubicBezTo>
                  <a:cubicBezTo>
                    <a:pt x="432" y="304"/>
                    <a:pt x="432" y="304"/>
                    <a:pt x="432" y="304"/>
                  </a:cubicBezTo>
                  <a:cubicBezTo>
                    <a:pt x="434" y="306"/>
                    <a:pt x="434" y="306"/>
                    <a:pt x="434" y="306"/>
                  </a:cubicBezTo>
                  <a:cubicBezTo>
                    <a:pt x="436" y="307"/>
                    <a:pt x="436" y="307"/>
                    <a:pt x="436" y="307"/>
                  </a:cubicBezTo>
                  <a:cubicBezTo>
                    <a:pt x="439" y="309"/>
                    <a:pt x="439" y="309"/>
                    <a:pt x="439" y="309"/>
                  </a:cubicBezTo>
                  <a:cubicBezTo>
                    <a:pt x="442" y="308"/>
                    <a:pt x="442" y="308"/>
                    <a:pt x="442" y="308"/>
                  </a:cubicBezTo>
                  <a:cubicBezTo>
                    <a:pt x="444" y="305"/>
                    <a:pt x="444" y="305"/>
                    <a:pt x="444" y="305"/>
                  </a:cubicBezTo>
                  <a:cubicBezTo>
                    <a:pt x="444" y="303"/>
                    <a:pt x="444" y="303"/>
                    <a:pt x="444" y="303"/>
                  </a:cubicBezTo>
                  <a:cubicBezTo>
                    <a:pt x="446" y="303"/>
                    <a:pt x="446" y="303"/>
                    <a:pt x="446" y="303"/>
                  </a:cubicBezTo>
                  <a:cubicBezTo>
                    <a:pt x="448" y="304"/>
                    <a:pt x="448" y="304"/>
                    <a:pt x="448" y="304"/>
                  </a:cubicBezTo>
                  <a:cubicBezTo>
                    <a:pt x="448" y="306"/>
                    <a:pt x="448" y="306"/>
                    <a:pt x="448" y="306"/>
                  </a:cubicBezTo>
                  <a:cubicBezTo>
                    <a:pt x="446" y="309"/>
                    <a:pt x="446" y="309"/>
                    <a:pt x="446" y="309"/>
                  </a:cubicBezTo>
                  <a:cubicBezTo>
                    <a:pt x="446" y="312"/>
                    <a:pt x="446" y="312"/>
                    <a:pt x="446" y="312"/>
                  </a:cubicBezTo>
                  <a:cubicBezTo>
                    <a:pt x="447" y="315"/>
                    <a:pt x="447" y="315"/>
                    <a:pt x="447" y="315"/>
                  </a:cubicBezTo>
                  <a:cubicBezTo>
                    <a:pt x="447" y="318"/>
                    <a:pt x="447" y="318"/>
                    <a:pt x="447" y="318"/>
                  </a:cubicBezTo>
                  <a:cubicBezTo>
                    <a:pt x="445" y="321"/>
                    <a:pt x="445" y="321"/>
                    <a:pt x="445" y="321"/>
                  </a:cubicBezTo>
                  <a:cubicBezTo>
                    <a:pt x="446" y="323"/>
                    <a:pt x="446" y="323"/>
                    <a:pt x="446" y="323"/>
                  </a:cubicBezTo>
                  <a:cubicBezTo>
                    <a:pt x="449" y="327"/>
                    <a:pt x="449" y="327"/>
                    <a:pt x="449" y="327"/>
                  </a:cubicBezTo>
                  <a:cubicBezTo>
                    <a:pt x="452" y="332"/>
                    <a:pt x="452" y="332"/>
                    <a:pt x="452" y="332"/>
                  </a:cubicBezTo>
                  <a:cubicBezTo>
                    <a:pt x="454" y="337"/>
                    <a:pt x="454" y="337"/>
                    <a:pt x="454" y="337"/>
                  </a:cubicBezTo>
                  <a:cubicBezTo>
                    <a:pt x="455" y="343"/>
                    <a:pt x="455" y="343"/>
                    <a:pt x="455" y="343"/>
                  </a:cubicBezTo>
                  <a:cubicBezTo>
                    <a:pt x="456" y="348"/>
                    <a:pt x="456" y="348"/>
                    <a:pt x="456" y="348"/>
                  </a:cubicBezTo>
                  <a:cubicBezTo>
                    <a:pt x="459" y="350"/>
                    <a:pt x="459" y="350"/>
                    <a:pt x="459" y="350"/>
                  </a:cubicBezTo>
                  <a:cubicBezTo>
                    <a:pt x="461" y="354"/>
                    <a:pt x="461" y="354"/>
                    <a:pt x="461" y="354"/>
                  </a:cubicBezTo>
                  <a:cubicBezTo>
                    <a:pt x="463" y="360"/>
                    <a:pt x="463" y="360"/>
                    <a:pt x="463" y="360"/>
                  </a:cubicBezTo>
                  <a:cubicBezTo>
                    <a:pt x="465" y="363"/>
                    <a:pt x="465" y="363"/>
                    <a:pt x="465" y="363"/>
                  </a:cubicBezTo>
                  <a:cubicBezTo>
                    <a:pt x="468" y="368"/>
                    <a:pt x="468" y="368"/>
                    <a:pt x="468" y="368"/>
                  </a:cubicBezTo>
                  <a:cubicBezTo>
                    <a:pt x="469" y="372"/>
                    <a:pt x="469" y="372"/>
                    <a:pt x="469" y="372"/>
                  </a:cubicBezTo>
                  <a:cubicBezTo>
                    <a:pt x="471" y="374"/>
                    <a:pt x="471" y="374"/>
                    <a:pt x="471" y="374"/>
                  </a:cubicBezTo>
                  <a:cubicBezTo>
                    <a:pt x="474" y="376"/>
                    <a:pt x="474" y="376"/>
                    <a:pt x="474" y="376"/>
                  </a:cubicBezTo>
                  <a:cubicBezTo>
                    <a:pt x="476" y="377"/>
                    <a:pt x="476" y="377"/>
                    <a:pt x="476" y="377"/>
                  </a:cubicBezTo>
                  <a:cubicBezTo>
                    <a:pt x="479" y="375"/>
                    <a:pt x="479" y="375"/>
                    <a:pt x="479" y="375"/>
                  </a:cubicBezTo>
                  <a:cubicBezTo>
                    <a:pt x="481" y="370"/>
                    <a:pt x="481" y="370"/>
                    <a:pt x="481" y="370"/>
                  </a:cubicBezTo>
                  <a:cubicBezTo>
                    <a:pt x="483" y="363"/>
                    <a:pt x="483" y="363"/>
                    <a:pt x="483" y="363"/>
                  </a:cubicBezTo>
                  <a:cubicBezTo>
                    <a:pt x="485" y="356"/>
                    <a:pt x="485" y="356"/>
                    <a:pt x="485" y="356"/>
                  </a:cubicBezTo>
                  <a:cubicBezTo>
                    <a:pt x="485" y="347"/>
                    <a:pt x="485" y="347"/>
                    <a:pt x="485" y="347"/>
                  </a:cubicBezTo>
                  <a:cubicBezTo>
                    <a:pt x="485" y="343"/>
                    <a:pt x="485" y="343"/>
                    <a:pt x="485" y="343"/>
                  </a:cubicBezTo>
                  <a:cubicBezTo>
                    <a:pt x="485" y="341"/>
                    <a:pt x="485" y="341"/>
                    <a:pt x="485" y="341"/>
                  </a:cubicBezTo>
                  <a:cubicBezTo>
                    <a:pt x="490" y="337"/>
                    <a:pt x="490" y="337"/>
                    <a:pt x="490" y="337"/>
                  </a:cubicBezTo>
                  <a:cubicBezTo>
                    <a:pt x="496" y="330"/>
                    <a:pt x="496" y="330"/>
                    <a:pt x="496" y="330"/>
                  </a:cubicBezTo>
                  <a:cubicBezTo>
                    <a:pt x="501" y="325"/>
                    <a:pt x="501" y="325"/>
                    <a:pt x="501" y="325"/>
                  </a:cubicBezTo>
                  <a:cubicBezTo>
                    <a:pt x="503" y="321"/>
                    <a:pt x="503" y="321"/>
                    <a:pt x="503" y="321"/>
                  </a:cubicBezTo>
                  <a:cubicBezTo>
                    <a:pt x="505" y="319"/>
                    <a:pt x="505" y="319"/>
                    <a:pt x="505" y="319"/>
                  </a:cubicBezTo>
                  <a:cubicBezTo>
                    <a:pt x="508" y="316"/>
                    <a:pt x="508" y="316"/>
                    <a:pt x="508" y="316"/>
                  </a:cubicBezTo>
                  <a:cubicBezTo>
                    <a:pt x="509" y="311"/>
                    <a:pt x="509" y="311"/>
                    <a:pt x="509" y="311"/>
                  </a:cubicBezTo>
                  <a:cubicBezTo>
                    <a:pt x="512" y="307"/>
                    <a:pt x="512" y="307"/>
                    <a:pt x="512" y="307"/>
                  </a:cubicBezTo>
                  <a:cubicBezTo>
                    <a:pt x="517" y="306"/>
                    <a:pt x="517" y="306"/>
                    <a:pt x="517" y="306"/>
                  </a:cubicBezTo>
                  <a:cubicBezTo>
                    <a:pt x="521" y="306"/>
                    <a:pt x="521" y="306"/>
                    <a:pt x="521" y="306"/>
                  </a:cubicBezTo>
                  <a:cubicBezTo>
                    <a:pt x="523" y="305"/>
                    <a:pt x="523" y="305"/>
                    <a:pt x="523" y="305"/>
                  </a:cubicBezTo>
                  <a:cubicBezTo>
                    <a:pt x="524" y="304"/>
                    <a:pt x="524" y="304"/>
                    <a:pt x="524" y="304"/>
                  </a:cubicBezTo>
                  <a:cubicBezTo>
                    <a:pt x="525" y="301"/>
                    <a:pt x="525" y="301"/>
                    <a:pt x="525" y="301"/>
                  </a:cubicBezTo>
                  <a:cubicBezTo>
                    <a:pt x="526" y="300"/>
                    <a:pt x="526" y="300"/>
                    <a:pt x="526" y="300"/>
                  </a:cubicBezTo>
                  <a:cubicBezTo>
                    <a:pt x="527" y="300"/>
                    <a:pt x="527" y="300"/>
                    <a:pt x="527" y="300"/>
                  </a:cubicBezTo>
                  <a:cubicBezTo>
                    <a:pt x="529" y="301"/>
                    <a:pt x="529" y="301"/>
                    <a:pt x="529" y="301"/>
                  </a:cubicBezTo>
                  <a:cubicBezTo>
                    <a:pt x="529" y="303"/>
                    <a:pt x="529" y="303"/>
                    <a:pt x="529" y="303"/>
                  </a:cubicBezTo>
                  <a:cubicBezTo>
                    <a:pt x="529" y="307"/>
                    <a:pt x="529" y="307"/>
                    <a:pt x="529" y="307"/>
                  </a:cubicBezTo>
                  <a:cubicBezTo>
                    <a:pt x="532" y="311"/>
                    <a:pt x="532" y="311"/>
                    <a:pt x="532" y="311"/>
                  </a:cubicBezTo>
                  <a:cubicBezTo>
                    <a:pt x="535" y="315"/>
                    <a:pt x="535" y="315"/>
                    <a:pt x="535" y="315"/>
                  </a:cubicBezTo>
                  <a:cubicBezTo>
                    <a:pt x="538" y="319"/>
                    <a:pt x="538" y="319"/>
                    <a:pt x="538" y="319"/>
                  </a:cubicBezTo>
                  <a:cubicBezTo>
                    <a:pt x="540" y="320"/>
                    <a:pt x="540" y="320"/>
                    <a:pt x="540" y="320"/>
                  </a:cubicBezTo>
                  <a:cubicBezTo>
                    <a:pt x="542" y="323"/>
                    <a:pt x="542" y="323"/>
                    <a:pt x="542" y="323"/>
                  </a:cubicBezTo>
                  <a:cubicBezTo>
                    <a:pt x="543" y="325"/>
                    <a:pt x="543" y="325"/>
                    <a:pt x="543" y="325"/>
                  </a:cubicBezTo>
                  <a:cubicBezTo>
                    <a:pt x="543" y="329"/>
                    <a:pt x="543" y="329"/>
                    <a:pt x="543" y="329"/>
                  </a:cubicBezTo>
                  <a:cubicBezTo>
                    <a:pt x="545" y="331"/>
                    <a:pt x="545" y="331"/>
                    <a:pt x="545" y="331"/>
                  </a:cubicBezTo>
                  <a:cubicBezTo>
                    <a:pt x="546" y="333"/>
                    <a:pt x="546" y="333"/>
                    <a:pt x="546" y="333"/>
                  </a:cubicBezTo>
                  <a:cubicBezTo>
                    <a:pt x="547" y="335"/>
                    <a:pt x="547" y="335"/>
                    <a:pt x="547" y="335"/>
                  </a:cubicBezTo>
                  <a:cubicBezTo>
                    <a:pt x="548" y="338"/>
                    <a:pt x="548" y="338"/>
                    <a:pt x="548" y="338"/>
                  </a:cubicBezTo>
                  <a:cubicBezTo>
                    <a:pt x="553" y="338"/>
                    <a:pt x="553" y="338"/>
                    <a:pt x="553" y="338"/>
                  </a:cubicBezTo>
                  <a:cubicBezTo>
                    <a:pt x="554" y="337"/>
                    <a:pt x="554" y="337"/>
                    <a:pt x="554" y="337"/>
                  </a:cubicBezTo>
                  <a:cubicBezTo>
                    <a:pt x="555" y="334"/>
                    <a:pt x="555" y="334"/>
                    <a:pt x="555" y="334"/>
                  </a:cubicBezTo>
                  <a:cubicBezTo>
                    <a:pt x="555" y="332"/>
                    <a:pt x="555" y="332"/>
                    <a:pt x="555" y="332"/>
                  </a:cubicBezTo>
                  <a:cubicBezTo>
                    <a:pt x="556" y="332"/>
                    <a:pt x="556" y="332"/>
                    <a:pt x="556" y="332"/>
                  </a:cubicBezTo>
                  <a:cubicBezTo>
                    <a:pt x="558" y="335"/>
                    <a:pt x="558" y="335"/>
                    <a:pt x="558" y="335"/>
                  </a:cubicBezTo>
                  <a:cubicBezTo>
                    <a:pt x="558" y="339"/>
                    <a:pt x="558" y="339"/>
                    <a:pt x="558" y="339"/>
                  </a:cubicBezTo>
                  <a:cubicBezTo>
                    <a:pt x="559" y="343"/>
                    <a:pt x="559" y="343"/>
                    <a:pt x="559" y="343"/>
                  </a:cubicBezTo>
                  <a:cubicBezTo>
                    <a:pt x="561" y="347"/>
                    <a:pt x="561" y="347"/>
                    <a:pt x="561" y="347"/>
                  </a:cubicBezTo>
                  <a:cubicBezTo>
                    <a:pt x="563" y="350"/>
                    <a:pt x="563" y="350"/>
                    <a:pt x="563" y="350"/>
                  </a:cubicBezTo>
                  <a:cubicBezTo>
                    <a:pt x="565" y="353"/>
                    <a:pt x="565" y="353"/>
                    <a:pt x="565" y="353"/>
                  </a:cubicBezTo>
                  <a:cubicBezTo>
                    <a:pt x="564" y="357"/>
                    <a:pt x="564" y="357"/>
                    <a:pt x="564" y="357"/>
                  </a:cubicBezTo>
                  <a:cubicBezTo>
                    <a:pt x="564" y="363"/>
                    <a:pt x="564" y="363"/>
                    <a:pt x="564" y="363"/>
                  </a:cubicBezTo>
                  <a:cubicBezTo>
                    <a:pt x="565" y="369"/>
                    <a:pt x="565" y="369"/>
                    <a:pt x="565" y="369"/>
                  </a:cubicBezTo>
                  <a:cubicBezTo>
                    <a:pt x="565" y="373"/>
                    <a:pt x="565" y="373"/>
                    <a:pt x="565" y="373"/>
                  </a:cubicBezTo>
                  <a:cubicBezTo>
                    <a:pt x="565" y="377"/>
                    <a:pt x="565" y="377"/>
                    <a:pt x="565" y="377"/>
                  </a:cubicBezTo>
                  <a:cubicBezTo>
                    <a:pt x="567" y="379"/>
                    <a:pt x="567" y="379"/>
                    <a:pt x="567" y="379"/>
                  </a:cubicBezTo>
                  <a:cubicBezTo>
                    <a:pt x="569" y="382"/>
                    <a:pt x="569" y="382"/>
                    <a:pt x="569" y="382"/>
                  </a:cubicBezTo>
                  <a:cubicBezTo>
                    <a:pt x="570" y="384"/>
                    <a:pt x="570" y="384"/>
                    <a:pt x="570" y="384"/>
                  </a:cubicBezTo>
                  <a:cubicBezTo>
                    <a:pt x="572" y="389"/>
                    <a:pt x="572" y="389"/>
                    <a:pt x="572" y="389"/>
                  </a:cubicBezTo>
                  <a:cubicBezTo>
                    <a:pt x="575" y="393"/>
                    <a:pt x="575" y="393"/>
                    <a:pt x="575" y="393"/>
                  </a:cubicBezTo>
                  <a:cubicBezTo>
                    <a:pt x="577" y="399"/>
                    <a:pt x="577" y="399"/>
                    <a:pt x="577" y="399"/>
                  </a:cubicBezTo>
                  <a:cubicBezTo>
                    <a:pt x="578" y="407"/>
                    <a:pt x="578" y="407"/>
                    <a:pt x="578" y="407"/>
                  </a:cubicBezTo>
                  <a:cubicBezTo>
                    <a:pt x="580" y="412"/>
                    <a:pt x="580" y="412"/>
                    <a:pt x="580" y="412"/>
                  </a:cubicBezTo>
                  <a:cubicBezTo>
                    <a:pt x="585" y="416"/>
                    <a:pt x="585" y="416"/>
                    <a:pt x="585" y="416"/>
                  </a:cubicBezTo>
                  <a:cubicBezTo>
                    <a:pt x="589" y="416"/>
                    <a:pt x="589" y="416"/>
                    <a:pt x="589" y="416"/>
                  </a:cubicBezTo>
                  <a:cubicBezTo>
                    <a:pt x="590" y="413"/>
                    <a:pt x="590" y="413"/>
                    <a:pt x="590" y="413"/>
                  </a:cubicBezTo>
                  <a:cubicBezTo>
                    <a:pt x="589" y="407"/>
                    <a:pt x="589" y="407"/>
                    <a:pt x="589" y="407"/>
                  </a:cubicBezTo>
                  <a:cubicBezTo>
                    <a:pt x="589" y="402"/>
                    <a:pt x="589" y="402"/>
                    <a:pt x="589" y="402"/>
                  </a:cubicBezTo>
                  <a:cubicBezTo>
                    <a:pt x="590" y="397"/>
                    <a:pt x="590" y="397"/>
                    <a:pt x="590" y="397"/>
                  </a:cubicBezTo>
                  <a:cubicBezTo>
                    <a:pt x="589" y="393"/>
                    <a:pt x="589" y="393"/>
                    <a:pt x="589" y="393"/>
                  </a:cubicBezTo>
                  <a:cubicBezTo>
                    <a:pt x="584" y="388"/>
                    <a:pt x="584" y="388"/>
                    <a:pt x="584" y="388"/>
                  </a:cubicBezTo>
                  <a:cubicBezTo>
                    <a:pt x="579" y="381"/>
                    <a:pt x="579" y="381"/>
                    <a:pt x="579" y="381"/>
                  </a:cubicBezTo>
                  <a:cubicBezTo>
                    <a:pt x="575" y="374"/>
                    <a:pt x="575" y="374"/>
                    <a:pt x="575" y="374"/>
                  </a:cubicBezTo>
                  <a:cubicBezTo>
                    <a:pt x="574" y="369"/>
                    <a:pt x="574" y="369"/>
                    <a:pt x="574" y="369"/>
                  </a:cubicBezTo>
                  <a:cubicBezTo>
                    <a:pt x="573" y="366"/>
                    <a:pt x="573" y="366"/>
                    <a:pt x="573" y="366"/>
                  </a:cubicBezTo>
                  <a:cubicBezTo>
                    <a:pt x="571" y="363"/>
                    <a:pt x="571" y="363"/>
                    <a:pt x="571" y="363"/>
                  </a:cubicBezTo>
                  <a:cubicBezTo>
                    <a:pt x="570" y="359"/>
                    <a:pt x="570" y="359"/>
                    <a:pt x="570" y="359"/>
                  </a:cubicBezTo>
                  <a:cubicBezTo>
                    <a:pt x="572" y="355"/>
                    <a:pt x="572" y="355"/>
                    <a:pt x="572" y="355"/>
                  </a:cubicBezTo>
                  <a:cubicBezTo>
                    <a:pt x="573" y="352"/>
                    <a:pt x="573" y="352"/>
                    <a:pt x="573" y="352"/>
                  </a:cubicBezTo>
                  <a:cubicBezTo>
                    <a:pt x="575" y="350"/>
                    <a:pt x="575" y="350"/>
                    <a:pt x="575" y="350"/>
                  </a:cubicBezTo>
                  <a:cubicBezTo>
                    <a:pt x="576" y="352"/>
                    <a:pt x="576" y="352"/>
                    <a:pt x="576" y="352"/>
                  </a:cubicBezTo>
                  <a:cubicBezTo>
                    <a:pt x="578" y="355"/>
                    <a:pt x="578" y="355"/>
                    <a:pt x="578" y="355"/>
                  </a:cubicBezTo>
                  <a:cubicBezTo>
                    <a:pt x="580" y="355"/>
                    <a:pt x="580" y="355"/>
                    <a:pt x="580" y="355"/>
                  </a:cubicBezTo>
                  <a:cubicBezTo>
                    <a:pt x="582" y="355"/>
                    <a:pt x="582" y="355"/>
                    <a:pt x="582" y="355"/>
                  </a:cubicBezTo>
                  <a:cubicBezTo>
                    <a:pt x="585" y="357"/>
                    <a:pt x="585" y="357"/>
                    <a:pt x="585" y="357"/>
                  </a:cubicBezTo>
                  <a:cubicBezTo>
                    <a:pt x="586" y="359"/>
                    <a:pt x="586" y="359"/>
                    <a:pt x="586" y="359"/>
                  </a:cubicBezTo>
                  <a:cubicBezTo>
                    <a:pt x="586" y="362"/>
                    <a:pt x="586" y="362"/>
                    <a:pt x="586" y="362"/>
                  </a:cubicBezTo>
                  <a:cubicBezTo>
                    <a:pt x="589" y="363"/>
                    <a:pt x="589" y="363"/>
                    <a:pt x="589" y="363"/>
                  </a:cubicBezTo>
                  <a:cubicBezTo>
                    <a:pt x="592" y="366"/>
                    <a:pt x="592" y="366"/>
                    <a:pt x="592" y="366"/>
                  </a:cubicBezTo>
                  <a:cubicBezTo>
                    <a:pt x="592" y="368"/>
                    <a:pt x="592" y="368"/>
                    <a:pt x="592" y="368"/>
                  </a:cubicBezTo>
                  <a:cubicBezTo>
                    <a:pt x="593" y="373"/>
                    <a:pt x="593" y="373"/>
                    <a:pt x="593" y="373"/>
                  </a:cubicBezTo>
                  <a:cubicBezTo>
                    <a:pt x="594" y="375"/>
                    <a:pt x="594" y="375"/>
                    <a:pt x="594" y="375"/>
                  </a:cubicBezTo>
                  <a:cubicBezTo>
                    <a:pt x="597" y="375"/>
                    <a:pt x="597" y="375"/>
                    <a:pt x="597" y="375"/>
                  </a:cubicBezTo>
                  <a:cubicBezTo>
                    <a:pt x="600" y="372"/>
                    <a:pt x="600" y="372"/>
                    <a:pt x="600" y="372"/>
                  </a:cubicBezTo>
                  <a:cubicBezTo>
                    <a:pt x="603" y="369"/>
                    <a:pt x="603" y="369"/>
                    <a:pt x="603" y="369"/>
                  </a:cubicBezTo>
                  <a:cubicBezTo>
                    <a:pt x="608" y="367"/>
                    <a:pt x="608" y="367"/>
                    <a:pt x="608" y="367"/>
                  </a:cubicBezTo>
                  <a:cubicBezTo>
                    <a:pt x="610" y="362"/>
                    <a:pt x="610" y="362"/>
                    <a:pt x="610" y="362"/>
                  </a:cubicBezTo>
                  <a:cubicBezTo>
                    <a:pt x="611" y="351"/>
                    <a:pt x="611" y="351"/>
                    <a:pt x="611" y="351"/>
                  </a:cubicBezTo>
                  <a:cubicBezTo>
                    <a:pt x="611" y="345"/>
                    <a:pt x="611" y="345"/>
                    <a:pt x="611" y="345"/>
                  </a:cubicBezTo>
                  <a:cubicBezTo>
                    <a:pt x="609" y="340"/>
                    <a:pt x="609" y="340"/>
                    <a:pt x="609" y="340"/>
                  </a:cubicBezTo>
                  <a:cubicBezTo>
                    <a:pt x="606" y="337"/>
                    <a:pt x="606" y="337"/>
                    <a:pt x="606" y="337"/>
                  </a:cubicBezTo>
                  <a:cubicBezTo>
                    <a:pt x="604" y="336"/>
                    <a:pt x="604" y="336"/>
                    <a:pt x="604" y="336"/>
                  </a:cubicBezTo>
                  <a:cubicBezTo>
                    <a:pt x="600" y="335"/>
                    <a:pt x="600" y="335"/>
                    <a:pt x="600" y="335"/>
                  </a:cubicBezTo>
                  <a:cubicBezTo>
                    <a:pt x="599" y="334"/>
                    <a:pt x="599" y="334"/>
                    <a:pt x="599" y="334"/>
                  </a:cubicBezTo>
                  <a:cubicBezTo>
                    <a:pt x="600" y="332"/>
                    <a:pt x="600" y="332"/>
                    <a:pt x="600" y="332"/>
                  </a:cubicBezTo>
                  <a:cubicBezTo>
                    <a:pt x="599" y="329"/>
                    <a:pt x="599" y="329"/>
                    <a:pt x="599" y="329"/>
                  </a:cubicBezTo>
                  <a:cubicBezTo>
                    <a:pt x="594" y="325"/>
                    <a:pt x="594" y="325"/>
                    <a:pt x="594" y="325"/>
                  </a:cubicBezTo>
                  <a:cubicBezTo>
                    <a:pt x="593" y="322"/>
                    <a:pt x="593" y="322"/>
                    <a:pt x="593" y="322"/>
                  </a:cubicBezTo>
                  <a:cubicBezTo>
                    <a:pt x="594" y="318"/>
                    <a:pt x="594" y="318"/>
                    <a:pt x="594" y="318"/>
                  </a:cubicBezTo>
                  <a:cubicBezTo>
                    <a:pt x="595" y="313"/>
                    <a:pt x="595" y="313"/>
                    <a:pt x="595" y="313"/>
                  </a:cubicBezTo>
                  <a:cubicBezTo>
                    <a:pt x="599" y="311"/>
                    <a:pt x="599" y="311"/>
                    <a:pt x="599" y="311"/>
                  </a:cubicBezTo>
                  <a:cubicBezTo>
                    <a:pt x="603" y="308"/>
                    <a:pt x="603" y="308"/>
                    <a:pt x="603" y="308"/>
                  </a:cubicBezTo>
                  <a:cubicBezTo>
                    <a:pt x="605" y="308"/>
                    <a:pt x="605" y="308"/>
                    <a:pt x="605" y="308"/>
                  </a:cubicBezTo>
                  <a:cubicBezTo>
                    <a:pt x="607" y="311"/>
                    <a:pt x="607" y="311"/>
                    <a:pt x="607" y="311"/>
                  </a:cubicBezTo>
                  <a:cubicBezTo>
                    <a:pt x="609" y="313"/>
                    <a:pt x="609" y="313"/>
                    <a:pt x="609" y="313"/>
                  </a:cubicBezTo>
                  <a:cubicBezTo>
                    <a:pt x="612" y="312"/>
                    <a:pt x="612" y="312"/>
                    <a:pt x="612" y="312"/>
                  </a:cubicBezTo>
                  <a:cubicBezTo>
                    <a:pt x="614" y="310"/>
                    <a:pt x="614" y="310"/>
                    <a:pt x="614" y="310"/>
                  </a:cubicBezTo>
                  <a:cubicBezTo>
                    <a:pt x="617" y="308"/>
                    <a:pt x="617" y="308"/>
                    <a:pt x="617" y="308"/>
                  </a:cubicBezTo>
                  <a:cubicBezTo>
                    <a:pt x="622" y="308"/>
                    <a:pt x="622" y="308"/>
                    <a:pt x="622" y="308"/>
                  </a:cubicBezTo>
                  <a:cubicBezTo>
                    <a:pt x="625" y="305"/>
                    <a:pt x="625" y="305"/>
                    <a:pt x="625" y="305"/>
                  </a:cubicBezTo>
                  <a:cubicBezTo>
                    <a:pt x="628" y="303"/>
                    <a:pt x="628" y="303"/>
                    <a:pt x="628" y="303"/>
                  </a:cubicBezTo>
                  <a:cubicBezTo>
                    <a:pt x="630" y="303"/>
                    <a:pt x="630" y="303"/>
                    <a:pt x="630" y="303"/>
                  </a:cubicBezTo>
                  <a:cubicBezTo>
                    <a:pt x="634" y="302"/>
                    <a:pt x="634" y="302"/>
                    <a:pt x="634" y="302"/>
                  </a:cubicBezTo>
                  <a:cubicBezTo>
                    <a:pt x="640" y="296"/>
                    <a:pt x="640" y="296"/>
                    <a:pt x="640" y="296"/>
                  </a:cubicBezTo>
                  <a:cubicBezTo>
                    <a:pt x="644" y="293"/>
                    <a:pt x="644" y="293"/>
                    <a:pt x="644" y="293"/>
                  </a:cubicBezTo>
                  <a:cubicBezTo>
                    <a:pt x="647" y="289"/>
                    <a:pt x="647" y="289"/>
                    <a:pt x="647" y="289"/>
                  </a:cubicBezTo>
                  <a:cubicBezTo>
                    <a:pt x="647" y="286"/>
                    <a:pt x="647" y="286"/>
                    <a:pt x="647" y="286"/>
                  </a:cubicBezTo>
                  <a:cubicBezTo>
                    <a:pt x="646" y="283"/>
                    <a:pt x="646" y="283"/>
                    <a:pt x="646" y="283"/>
                  </a:cubicBezTo>
                  <a:cubicBezTo>
                    <a:pt x="648" y="281"/>
                    <a:pt x="648" y="281"/>
                    <a:pt x="648" y="281"/>
                  </a:cubicBezTo>
                  <a:cubicBezTo>
                    <a:pt x="650" y="278"/>
                    <a:pt x="650" y="278"/>
                    <a:pt x="650" y="278"/>
                  </a:cubicBezTo>
                  <a:cubicBezTo>
                    <a:pt x="650" y="272"/>
                    <a:pt x="650" y="272"/>
                    <a:pt x="650" y="272"/>
                  </a:cubicBezTo>
                  <a:cubicBezTo>
                    <a:pt x="651" y="267"/>
                    <a:pt x="651" y="267"/>
                    <a:pt x="651" y="267"/>
                  </a:cubicBezTo>
                  <a:cubicBezTo>
                    <a:pt x="650" y="263"/>
                    <a:pt x="650" y="263"/>
                    <a:pt x="650" y="263"/>
                  </a:cubicBezTo>
                  <a:cubicBezTo>
                    <a:pt x="648" y="262"/>
                    <a:pt x="648" y="262"/>
                    <a:pt x="648" y="262"/>
                  </a:cubicBezTo>
                  <a:cubicBezTo>
                    <a:pt x="648" y="260"/>
                    <a:pt x="648" y="260"/>
                    <a:pt x="648" y="260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6" y="255"/>
                    <a:pt x="646" y="255"/>
                    <a:pt x="646" y="255"/>
                  </a:cubicBezTo>
                  <a:cubicBezTo>
                    <a:pt x="646" y="252"/>
                    <a:pt x="646" y="252"/>
                    <a:pt x="646" y="252"/>
                  </a:cubicBezTo>
                  <a:cubicBezTo>
                    <a:pt x="643" y="249"/>
                    <a:pt x="643" y="249"/>
                    <a:pt x="643" y="249"/>
                  </a:cubicBezTo>
                  <a:cubicBezTo>
                    <a:pt x="641" y="246"/>
                    <a:pt x="641" y="246"/>
                    <a:pt x="641" y="246"/>
                  </a:cubicBezTo>
                  <a:cubicBezTo>
                    <a:pt x="640" y="242"/>
                    <a:pt x="640" y="242"/>
                    <a:pt x="640" y="242"/>
                  </a:cubicBezTo>
                  <a:cubicBezTo>
                    <a:pt x="637" y="238"/>
                    <a:pt x="637" y="238"/>
                    <a:pt x="637" y="238"/>
                  </a:cubicBezTo>
                  <a:cubicBezTo>
                    <a:pt x="633" y="236"/>
                    <a:pt x="633" y="236"/>
                    <a:pt x="633" y="236"/>
                  </a:cubicBezTo>
                  <a:cubicBezTo>
                    <a:pt x="633" y="234"/>
                    <a:pt x="633" y="234"/>
                    <a:pt x="633" y="234"/>
                  </a:cubicBezTo>
                  <a:cubicBezTo>
                    <a:pt x="634" y="229"/>
                    <a:pt x="634" y="229"/>
                    <a:pt x="634" y="229"/>
                  </a:cubicBezTo>
                  <a:cubicBezTo>
                    <a:pt x="636" y="226"/>
                    <a:pt x="636" y="226"/>
                    <a:pt x="636" y="226"/>
                  </a:cubicBezTo>
                  <a:cubicBezTo>
                    <a:pt x="638" y="222"/>
                    <a:pt x="638" y="222"/>
                    <a:pt x="638" y="222"/>
                  </a:cubicBezTo>
                  <a:cubicBezTo>
                    <a:pt x="638" y="220"/>
                    <a:pt x="638" y="220"/>
                    <a:pt x="638" y="220"/>
                  </a:cubicBezTo>
                  <a:cubicBezTo>
                    <a:pt x="635" y="219"/>
                    <a:pt x="635" y="219"/>
                    <a:pt x="635" y="219"/>
                  </a:cubicBezTo>
                  <a:cubicBezTo>
                    <a:pt x="631" y="220"/>
                    <a:pt x="631" y="220"/>
                    <a:pt x="631" y="220"/>
                  </a:cubicBezTo>
                  <a:cubicBezTo>
                    <a:pt x="628" y="222"/>
                    <a:pt x="628" y="222"/>
                    <a:pt x="628" y="222"/>
                  </a:cubicBezTo>
                  <a:cubicBezTo>
                    <a:pt x="625" y="223"/>
                    <a:pt x="625" y="223"/>
                    <a:pt x="625" y="223"/>
                  </a:cubicBezTo>
                  <a:cubicBezTo>
                    <a:pt x="624" y="220"/>
                    <a:pt x="624" y="220"/>
                    <a:pt x="624" y="220"/>
                  </a:cubicBezTo>
                  <a:cubicBezTo>
                    <a:pt x="622" y="218"/>
                    <a:pt x="622" y="218"/>
                    <a:pt x="622" y="218"/>
                  </a:cubicBezTo>
                  <a:cubicBezTo>
                    <a:pt x="618" y="218"/>
                    <a:pt x="618" y="218"/>
                    <a:pt x="618" y="218"/>
                  </a:cubicBezTo>
                  <a:cubicBezTo>
                    <a:pt x="617" y="215"/>
                    <a:pt x="617" y="215"/>
                    <a:pt x="617" y="215"/>
                  </a:cubicBezTo>
                  <a:cubicBezTo>
                    <a:pt x="620" y="214"/>
                    <a:pt x="620" y="214"/>
                    <a:pt x="620" y="214"/>
                  </a:cubicBezTo>
                  <a:cubicBezTo>
                    <a:pt x="622" y="212"/>
                    <a:pt x="622" y="212"/>
                    <a:pt x="622" y="212"/>
                  </a:cubicBezTo>
                  <a:cubicBezTo>
                    <a:pt x="623" y="208"/>
                    <a:pt x="623" y="208"/>
                    <a:pt x="623" y="208"/>
                  </a:cubicBezTo>
                  <a:cubicBezTo>
                    <a:pt x="627" y="204"/>
                    <a:pt x="627" y="204"/>
                    <a:pt x="627" y="204"/>
                  </a:cubicBezTo>
                  <a:cubicBezTo>
                    <a:pt x="629" y="202"/>
                    <a:pt x="629" y="202"/>
                    <a:pt x="629" y="202"/>
                  </a:cubicBezTo>
                  <a:cubicBezTo>
                    <a:pt x="632" y="202"/>
                    <a:pt x="632" y="202"/>
                    <a:pt x="632" y="202"/>
                  </a:cubicBezTo>
                  <a:cubicBezTo>
                    <a:pt x="632" y="204"/>
                    <a:pt x="632" y="204"/>
                    <a:pt x="632" y="204"/>
                  </a:cubicBezTo>
                  <a:cubicBezTo>
                    <a:pt x="632" y="207"/>
                    <a:pt x="632" y="207"/>
                    <a:pt x="632" y="207"/>
                  </a:cubicBezTo>
                  <a:cubicBezTo>
                    <a:pt x="630" y="210"/>
                    <a:pt x="630" y="210"/>
                    <a:pt x="630" y="210"/>
                  </a:cubicBezTo>
                  <a:cubicBezTo>
                    <a:pt x="629" y="212"/>
                    <a:pt x="629" y="212"/>
                    <a:pt x="629" y="212"/>
                  </a:cubicBezTo>
                  <a:cubicBezTo>
                    <a:pt x="630" y="214"/>
                    <a:pt x="630" y="214"/>
                    <a:pt x="630" y="214"/>
                  </a:cubicBezTo>
                  <a:cubicBezTo>
                    <a:pt x="633" y="214"/>
                    <a:pt x="633" y="214"/>
                    <a:pt x="633" y="214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42" y="210"/>
                    <a:pt x="642" y="210"/>
                    <a:pt x="642" y="210"/>
                  </a:cubicBezTo>
                  <a:cubicBezTo>
                    <a:pt x="645" y="210"/>
                    <a:pt x="645" y="210"/>
                    <a:pt x="645" y="210"/>
                  </a:cubicBezTo>
                  <a:cubicBezTo>
                    <a:pt x="648" y="212"/>
                    <a:pt x="648" y="212"/>
                    <a:pt x="648" y="212"/>
                  </a:cubicBezTo>
                  <a:cubicBezTo>
                    <a:pt x="649" y="213"/>
                    <a:pt x="649" y="213"/>
                    <a:pt x="649" y="213"/>
                  </a:cubicBezTo>
                  <a:cubicBezTo>
                    <a:pt x="648" y="216"/>
                    <a:pt x="648" y="216"/>
                    <a:pt x="648" y="216"/>
                  </a:cubicBezTo>
                  <a:cubicBezTo>
                    <a:pt x="647" y="218"/>
                    <a:pt x="647" y="218"/>
                    <a:pt x="647" y="218"/>
                  </a:cubicBezTo>
                  <a:cubicBezTo>
                    <a:pt x="647" y="219"/>
                    <a:pt x="647" y="219"/>
                    <a:pt x="647" y="219"/>
                  </a:cubicBezTo>
                  <a:cubicBezTo>
                    <a:pt x="649" y="220"/>
                    <a:pt x="649" y="220"/>
                    <a:pt x="649" y="220"/>
                  </a:cubicBezTo>
                  <a:cubicBezTo>
                    <a:pt x="653" y="220"/>
                    <a:pt x="653" y="220"/>
                    <a:pt x="653" y="220"/>
                  </a:cubicBezTo>
                  <a:cubicBezTo>
                    <a:pt x="655" y="221"/>
                    <a:pt x="655" y="221"/>
                    <a:pt x="655" y="221"/>
                  </a:cubicBezTo>
                  <a:cubicBezTo>
                    <a:pt x="655" y="223"/>
                    <a:pt x="655" y="223"/>
                    <a:pt x="655" y="223"/>
                  </a:cubicBezTo>
                  <a:cubicBezTo>
                    <a:pt x="654" y="225"/>
                    <a:pt x="654" y="225"/>
                    <a:pt x="654" y="225"/>
                  </a:cubicBezTo>
                  <a:cubicBezTo>
                    <a:pt x="654" y="227"/>
                    <a:pt x="654" y="227"/>
                    <a:pt x="654" y="227"/>
                  </a:cubicBezTo>
                  <a:cubicBezTo>
                    <a:pt x="656" y="228"/>
                    <a:pt x="656" y="228"/>
                    <a:pt x="656" y="228"/>
                  </a:cubicBezTo>
                  <a:cubicBezTo>
                    <a:pt x="658" y="230"/>
                    <a:pt x="658" y="230"/>
                    <a:pt x="658" y="230"/>
                  </a:cubicBezTo>
                  <a:cubicBezTo>
                    <a:pt x="659" y="233"/>
                    <a:pt x="659" y="233"/>
                    <a:pt x="659" y="233"/>
                  </a:cubicBezTo>
                  <a:cubicBezTo>
                    <a:pt x="659" y="237"/>
                    <a:pt x="659" y="237"/>
                    <a:pt x="659" y="237"/>
                  </a:cubicBezTo>
                  <a:cubicBezTo>
                    <a:pt x="661" y="239"/>
                    <a:pt x="661" y="239"/>
                    <a:pt x="661" y="239"/>
                  </a:cubicBezTo>
                  <a:cubicBezTo>
                    <a:pt x="664" y="240"/>
                    <a:pt x="664" y="240"/>
                    <a:pt x="664" y="240"/>
                  </a:cubicBezTo>
                  <a:cubicBezTo>
                    <a:pt x="669" y="237"/>
                    <a:pt x="669" y="237"/>
                    <a:pt x="669" y="237"/>
                  </a:cubicBezTo>
                  <a:cubicBezTo>
                    <a:pt x="673" y="237"/>
                    <a:pt x="673" y="237"/>
                    <a:pt x="673" y="237"/>
                  </a:cubicBezTo>
                  <a:cubicBezTo>
                    <a:pt x="674" y="235"/>
                    <a:pt x="674" y="235"/>
                    <a:pt x="674" y="235"/>
                  </a:cubicBezTo>
                  <a:cubicBezTo>
                    <a:pt x="674" y="228"/>
                    <a:pt x="674" y="228"/>
                    <a:pt x="674" y="228"/>
                  </a:cubicBezTo>
                  <a:cubicBezTo>
                    <a:pt x="672" y="225"/>
                    <a:pt x="672" y="225"/>
                    <a:pt x="672" y="225"/>
                  </a:cubicBezTo>
                  <a:cubicBezTo>
                    <a:pt x="669" y="222"/>
                    <a:pt x="669" y="222"/>
                    <a:pt x="669" y="222"/>
                  </a:cubicBezTo>
                  <a:cubicBezTo>
                    <a:pt x="667" y="220"/>
                    <a:pt x="667" y="220"/>
                    <a:pt x="667" y="220"/>
                  </a:cubicBezTo>
                  <a:cubicBezTo>
                    <a:pt x="666" y="217"/>
                    <a:pt x="666" y="217"/>
                    <a:pt x="666" y="217"/>
                  </a:cubicBezTo>
                  <a:cubicBezTo>
                    <a:pt x="664" y="215"/>
                    <a:pt x="664" y="215"/>
                    <a:pt x="664" y="215"/>
                  </a:cubicBezTo>
                  <a:cubicBezTo>
                    <a:pt x="662" y="214"/>
                    <a:pt x="662" y="214"/>
                    <a:pt x="662" y="214"/>
                  </a:cubicBezTo>
                  <a:cubicBezTo>
                    <a:pt x="659" y="213"/>
                    <a:pt x="659" y="213"/>
                    <a:pt x="659" y="213"/>
                  </a:cubicBezTo>
                  <a:cubicBezTo>
                    <a:pt x="658" y="211"/>
                    <a:pt x="658" y="211"/>
                    <a:pt x="658" y="211"/>
                  </a:cubicBezTo>
                  <a:cubicBezTo>
                    <a:pt x="658" y="208"/>
                    <a:pt x="658" y="208"/>
                    <a:pt x="658" y="208"/>
                  </a:cubicBezTo>
                  <a:cubicBezTo>
                    <a:pt x="659" y="206"/>
                    <a:pt x="659" y="206"/>
                    <a:pt x="659" y="206"/>
                  </a:cubicBezTo>
                  <a:cubicBezTo>
                    <a:pt x="660" y="202"/>
                    <a:pt x="660" y="202"/>
                    <a:pt x="660" y="202"/>
                  </a:cubicBezTo>
                  <a:cubicBezTo>
                    <a:pt x="660" y="198"/>
                    <a:pt x="660" y="198"/>
                    <a:pt x="660" y="198"/>
                  </a:cubicBezTo>
                  <a:cubicBezTo>
                    <a:pt x="662" y="194"/>
                    <a:pt x="662" y="194"/>
                    <a:pt x="662" y="194"/>
                  </a:cubicBezTo>
                  <a:cubicBezTo>
                    <a:pt x="664" y="191"/>
                    <a:pt x="664" y="191"/>
                    <a:pt x="664" y="191"/>
                  </a:cubicBezTo>
                  <a:cubicBezTo>
                    <a:pt x="667" y="189"/>
                    <a:pt x="667" y="189"/>
                    <a:pt x="667" y="189"/>
                  </a:cubicBezTo>
                  <a:cubicBezTo>
                    <a:pt x="670" y="189"/>
                    <a:pt x="670" y="189"/>
                    <a:pt x="670" y="189"/>
                  </a:cubicBezTo>
                  <a:cubicBezTo>
                    <a:pt x="675" y="189"/>
                    <a:pt x="675" y="189"/>
                    <a:pt x="675" y="189"/>
                  </a:cubicBezTo>
                  <a:cubicBezTo>
                    <a:pt x="679" y="185"/>
                    <a:pt x="679" y="185"/>
                    <a:pt x="679" y="185"/>
                  </a:cubicBezTo>
                  <a:cubicBezTo>
                    <a:pt x="680" y="178"/>
                    <a:pt x="680" y="178"/>
                    <a:pt x="680" y="178"/>
                  </a:cubicBezTo>
                  <a:cubicBezTo>
                    <a:pt x="680" y="172"/>
                    <a:pt x="680" y="172"/>
                    <a:pt x="680" y="172"/>
                  </a:cubicBezTo>
                  <a:cubicBezTo>
                    <a:pt x="680" y="166"/>
                    <a:pt x="680" y="166"/>
                    <a:pt x="680" y="166"/>
                  </a:cubicBezTo>
                  <a:cubicBezTo>
                    <a:pt x="681" y="164"/>
                    <a:pt x="681" y="164"/>
                    <a:pt x="681" y="164"/>
                  </a:cubicBezTo>
                  <a:cubicBezTo>
                    <a:pt x="683" y="161"/>
                    <a:pt x="683" y="161"/>
                    <a:pt x="683" y="161"/>
                  </a:cubicBezTo>
                  <a:cubicBezTo>
                    <a:pt x="683" y="156"/>
                    <a:pt x="683" y="156"/>
                    <a:pt x="683" y="156"/>
                  </a:cubicBezTo>
                  <a:cubicBezTo>
                    <a:pt x="681" y="153"/>
                    <a:pt x="681" y="153"/>
                    <a:pt x="681" y="153"/>
                  </a:cubicBezTo>
                  <a:cubicBezTo>
                    <a:pt x="681" y="153"/>
                    <a:pt x="680" y="150"/>
                    <a:pt x="680" y="149"/>
                  </a:cubicBezTo>
                  <a:cubicBezTo>
                    <a:pt x="679" y="149"/>
                    <a:pt x="678" y="143"/>
                    <a:pt x="678" y="143"/>
                  </a:cubicBezTo>
                  <a:cubicBezTo>
                    <a:pt x="675" y="140"/>
                    <a:pt x="675" y="140"/>
                    <a:pt x="675" y="140"/>
                  </a:cubicBezTo>
                  <a:cubicBezTo>
                    <a:pt x="671" y="135"/>
                    <a:pt x="671" y="135"/>
                    <a:pt x="671" y="135"/>
                  </a:cubicBezTo>
                  <a:cubicBezTo>
                    <a:pt x="667" y="132"/>
                    <a:pt x="667" y="132"/>
                    <a:pt x="667" y="132"/>
                  </a:cubicBezTo>
                  <a:cubicBezTo>
                    <a:pt x="666" y="130"/>
                    <a:pt x="666" y="130"/>
                    <a:pt x="666" y="130"/>
                  </a:cubicBezTo>
                  <a:cubicBezTo>
                    <a:pt x="664" y="129"/>
                    <a:pt x="664" y="129"/>
                    <a:pt x="664" y="129"/>
                  </a:cubicBezTo>
                  <a:cubicBezTo>
                    <a:pt x="661" y="129"/>
                    <a:pt x="661" y="129"/>
                    <a:pt x="661" y="129"/>
                  </a:cubicBezTo>
                  <a:cubicBezTo>
                    <a:pt x="660" y="131"/>
                    <a:pt x="660" y="131"/>
                    <a:pt x="660" y="131"/>
                  </a:cubicBezTo>
                  <a:cubicBezTo>
                    <a:pt x="658" y="131"/>
                    <a:pt x="658" y="131"/>
                    <a:pt x="658" y="131"/>
                  </a:cubicBezTo>
                  <a:cubicBezTo>
                    <a:pt x="657" y="129"/>
                    <a:pt x="657" y="129"/>
                    <a:pt x="657" y="129"/>
                  </a:cubicBezTo>
                  <a:cubicBezTo>
                    <a:pt x="658" y="126"/>
                    <a:pt x="658" y="126"/>
                    <a:pt x="658" y="126"/>
                  </a:cubicBezTo>
                  <a:cubicBezTo>
                    <a:pt x="657" y="124"/>
                    <a:pt x="657" y="124"/>
                    <a:pt x="657" y="124"/>
                  </a:cubicBezTo>
                  <a:cubicBezTo>
                    <a:pt x="656" y="122"/>
                    <a:pt x="656" y="122"/>
                    <a:pt x="656" y="122"/>
                  </a:cubicBezTo>
                  <a:cubicBezTo>
                    <a:pt x="654" y="123"/>
                    <a:pt x="654" y="123"/>
                    <a:pt x="654" y="123"/>
                  </a:cubicBezTo>
                  <a:cubicBezTo>
                    <a:pt x="653" y="125"/>
                    <a:pt x="653" y="125"/>
                    <a:pt x="653" y="125"/>
                  </a:cubicBezTo>
                  <a:cubicBezTo>
                    <a:pt x="653" y="128"/>
                    <a:pt x="653" y="128"/>
                    <a:pt x="653" y="128"/>
                  </a:cubicBezTo>
                  <a:cubicBezTo>
                    <a:pt x="654" y="129"/>
                    <a:pt x="654" y="129"/>
                    <a:pt x="654" y="129"/>
                  </a:cubicBezTo>
                  <a:cubicBezTo>
                    <a:pt x="653" y="131"/>
                    <a:pt x="653" y="131"/>
                    <a:pt x="653" y="131"/>
                  </a:cubicBezTo>
                  <a:cubicBezTo>
                    <a:pt x="650" y="131"/>
                    <a:pt x="650" y="131"/>
                    <a:pt x="650" y="131"/>
                  </a:cubicBezTo>
                  <a:cubicBezTo>
                    <a:pt x="650" y="128"/>
                    <a:pt x="650" y="128"/>
                    <a:pt x="650" y="128"/>
                  </a:cubicBezTo>
                  <a:cubicBezTo>
                    <a:pt x="650" y="126"/>
                    <a:pt x="650" y="126"/>
                    <a:pt x="650" y="126"/>
                  </a:cubicBezTo>
                  <a:cubicBezTo>
                    <a:pt x="648" y="126"/>
                    <a:pt x="648" y="126"/>
                    <a:pt x="648" y="126"/>
                  </a:cubicBezTo>
                  <a:cubicBezTo>
                    <a:pt x="646" y="127"/>
                    <a:pt x="646" y="127"/>
                    <a:pt x="646" y="127"/>
                  </a:cubicBezTo>
                  <a:cubicBezTo>
                    <a:pt x="644" y="127"/>
                    <a:pt x="644" y="127"/>
                    <a:pt x="644" y="127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7" y="123"/>
                    <a:pt x="647" y="123"/>
                    <a:pt x="647" y="123"/>
                  </a:cubicBezTo>
                  <a:cubicBezTo>
                    <a:pt x="648" y="120"/>
                    <a:pt x="648" y="120"/>
                    <a:pt x="648" y="120"/>
                  </a:cubicBezTo>
                  <a:cubicBezTo>
                    <a:pt x="647" y="118"/>
                    <a:pt x="647" y="118"/>
                    <a:pt x="647" y="118"/>
                  </a:cubicBezTo>
                  <a:cubicBezTo>
                    <a:pt x="649" y="116"/>
                    <a:pt x="649" y="116"/>
                    <a:pt x="649" y="116"/>
                  </a:cubicBezTo>
                  <a:cubicBezTo>
                    <a:pt x="650" y="114"/>
                    <a:pt x="650" y="114"/>
                    <a:pt x="650" y="114"/>
                  </a:cubicBezTo>
                  <a:cubicBezTo>
                    <a:pt x="650" y="111"/>
                    <a:pt x="650" y="111"/>
                    <a:pt x="650" y="111"/>
                  </a:cubicBezTo>
                  <a:cubicBezTo>
                    <a:pt x="649" y="109"/>
                    <a:pt x="649" y="109"/>
                    <a:pt x="649" y="109"/>
                  </a:cubicBezTo>
                  <a:cubicBezTo>
                    <a:pt x="649" y="105"/>
                    <a:pt x="649" y="105"/>
                    <a:pt x="649" y="105"/>
                  </a:cubicBezTo>
                  <a:cubicBezTo>
                    <a:pt x="650" y="103"/>
                    <a:pt x="650" y="103"/>
                    <a:pt x="650" y="103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53" y="98"/>
                    <a:pt x="653" y="98"/>
                    <a:pt x="653" y="98"/>
                  </a:cubicBezTo>
                  <a:cubicBezTo>
                    <a:pt x="656" y="98"/>
                    <a:pt x="656" y="98"/>
                    <a:pt x="656" y="98"/>
                  </a:cubicBezTo>
                  <a:cubicBezTo>
                    <a:pt x="662" y="98"/>
                    <a:pt x="662" y="98"/>
                    <a:pt x="662" y="98"/>
                  </a:cubicBezTo>
                  <a:cubicBezTo>
                    <a:pt x="669" y="98"/>
                    <a:pt x="669" y="98"/>
                    <a:pt x="669" y="98"/>
                  </a:cubicBezTo>
                  <a:cubicBezTo>
                    <a:pt x="677" y="97"/>
                    <a:pt x="677" y="97"/>
                    <a:pt x="677" y="97"/>
                  </a:cubicBezTo>
                  <a:cubicBezTo>
                    <a:pt x="681" y="96"/>
                    <a:pt x="681" y="96"/>
                    <a:pt x="681" y="96"/>
                  </a:cubicBezTo>
                  <a:cubicBezTo>
                    <a:pt x="684" y="99"/>
                    <a:pt x="684" y="99"/>
                    <a:pt x="684" y="99"/>
                  </a:cubicBezTo>
                  <a:cubicBezTo>
                    <a:pt x="685" y="101"/>
                    <a:pt x="685" y="101"/>
                    <a:pt x="685" y="101"/>
                  </a:cubicBezTo>
                  <a:cubicBezTo>
                    <a:pt x="690" y="101"/>
                    <a:pt x="690" y="101"/>
                    <a:pt x="690" y="101"/>
                  </a:cubicBezTo>
                  <a:cubicBezTo>
                    <a:pt x="694" y="98"/>
                    <a:pt x="694" y="98"/>
                    <a:pt x="694" y="98"/>
                  </a:cubicBezTo>
                  <a:cubicBezTo>
                    <a:pt x="691" y="95"/>
                    <a:pt x="691" y="95"/>
                    <a:pt x="691" y="95"/>
                  </a:cubicBezTo>
                  <a:cubicBezTo>
                    <a:pt x="691" y="92"/>
                    <a:pt x="691" y="92"/>
                    <a:pt x="691" y="92"/>
                  </a:cubicBezTo>
                  <a:cubicBezTo>
                    <a:pt x="692" y="89"/>
                    <a:pt x="692" y="89"/>
                    <a:pt x="692" y="89"/>
                  </a:cubicBezTo>
                  <a:cubicBezTo>
                    <a:pt x="692" y="86"/>
                    <a:pt x="692" y="86"/>
                    <a:pt x="692" y="86"/>
                  </a:cubicBezTo>
                  <a:cubicBezTo>
                    <a:pt x="695" y="85"/>
                    <a:pt x="695" y="85"/>
                    <a:pt x="695" y="85"/>
                  </a:cubicBezTo>
                  <a:cubicBezTo>
                    <a:pt x="699" y="84"/>
                    <a:pt x="699" y="84"/>
                    <a:pt x="699" y="84"/>
                  </a:cubicBezTo>
                  <a:cubicBezTo>
                    <a:pt x="702" y="87"/>
                    <a:pt x="702" y="87"/>
                    <a:pt x="702" y="87"/>
                  </a:cubicBezTo>
                  <a:cubicBezTo>
                    <a:pt x="704" y="89"/>
                    <a:pt x="704" y="89"/>
                    <a:pt x="704" y="89"/>
                  </a:cubicBezTo>
                  <a:cubicBezTo>
                    <a:pt x="705" y="87"/>
                    <a:pt x="705" y="87"/>
                    <a:pt x="705" y="87"/>
                  </a:cubicBezTo>
                  <a:cubicBezTo>
                    <a:pt x="705" y="84"/>
                    <a:pt x="705" y="84"/>
                    <a:pt x="705" y="84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706" y="81"/>
                    <a:pt x="706" y="81"/>
                    <a:pt x="706" y="81"/>
                  </a:cubicBezTo>
                  <a:cubicBezTo>
                    <a:pt x="709" y="84"/>
                    <a:pt x="709" y="84"/>
                    <a:pt x="709" y="84"/>
                  </a:cubicBezTo>
                  <a:cubicBezTo>
                    <a:pt x="713" y="88"/>
                    <a:pt x="713" y="88"/>
                    <a:pt x="713" y="88"/>
                  </a:cubicBezTo>
                  <a:cubicBezTo>
                    <a:pt x="713" y="91"/>
                    <a:pt x="713" y="91"/>
                    <a:pt x="713" y="91"/>
                  </a:cubicBezTo>
                  <a:cubicBezTo>
                    <a:pt x="712" y="97"/>
                    <a:pt x="712" y="97"/>
                    <a:pt x="712" y="97"/>
                  </a:cubicBezTo>
                  <a:cubicBezTo>
                    <a:pt x="713" y="101"/>
                    <a:pt x="713" y="101"/>
                    <a:pt x="713" y="101"/>
                  </a:cubicBezTo>
                  <a:cubicBezTo>
                    <a:pt x="712" y="104"/>
                    <a:pt x="712" y="104"/>
                    <a:pt x="712" y="104"/>
                  </a:cubicBezTo>
                  <a:cubicBezTo>
                    <a:pt x="709" y="107"/>
                    <a:pt x="709" y="107"/>
                    <a:pt x="709" y="107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1" y="117"/>
                    <a:pt x="711" y="117"/>
                    <a:pt x="711" y="117"/>
                  </a:cubicBezTo>
                  <a:cubicBezTo>
                    <a:pt x="717" y="123"/>
                    <a:pt x="717" y="123"/>
                    <a:pt x="717" y="123"/>
                  </a:cubicBezTo>
                  <a:cubicBezTo>
                    <a:pt x="721" y="128"/>
                    <a:pt x="721" y="128"/>
                    <a:pt x="721" y="128"/>
                  </a:cubicBezTo>
                  <a:cubicBezTo>
                    <a:pt x="726" y="133"/>
                    <a:pt x="726" y="133"/>
                    <a:pt x="726" y="133"/>
                  </a:cubicBezTo>
                  <a:cubicBezTo>
                    <a:pt x="731" y="138"/>
                    <a:pt x="731" y="138"/>
                    <a:pt x="731" y="138"/>
                  </a:cubicBezTo>
                  <a:cubicBezTo>
                    <a:pt x="734" y="144"/>
                    <a:pt x="734" y="144"/>
                    <a:pt x="734" y="144"/>
                  </a:cubicBezTo>
                  <a:cubicBezTo>
                    <a:pt x="736" y="148"/>
                    <a:pt x="736" y="148"/>
                    <a:pt x="736" y="148"/>
                  </a:cubicBezTo>
                  <a:cubicBezTo>
                    <a:pt x="739" y="148"/>
                    <a:pt x="739" y="148"/>
                    <a:pt x="739" y="148"/>
                  </a:cubicBezTo>
                  <a:cubicBezTo>
                    <a:pt x="740" y="144"/>
                    <a:pt x="740" y="144"/>
                    <a:pt x="740" y="144"/>
                  </a:cubicBezTo>
                  <a:cubicBezTo>
                    <a:pt x="737" y="138"/>
                    <a:pt x="737" y="138"/>
                    <a:pt x="737" y="138"/>
                  </a:cubicBezTo>
                  <a:cubicBezTo>
                    <a:pt x="737" y="135"/>
                    <a:pt x="737" y="135"/>
                    <a:pt x="737" y="135"/>
                  </a:cubicBezTo>
                  <a:cubicBezTo>
                    <a:pt x="738" y="132"/>
                    <a:pt x="738" y="132"/>
                    <a:pt x="738" y="132"/>
                  </a:cubicBezTo>
                  <a:cubicBezTo>
                    <a:pt x="737" y="128"/>
                    <a:pt x="737" y="128"/>
                    <a:pt x="737" y="128"/>
                  </a:cubicBezTo>
                  <a:cubicBezTo>
                    <a:pt x="737" y="125"/>
                    <a:pt x="737" y="125"/>
                    <a:pt x="737" y="125"/>
                  </a:cubicBezTo>
                  <a:cubicBezTo>
                    <a:pt x="736" y="123"/>
                    <a:pt x="736" y="123"/>
                    <a:pt x="736" y="123"/>
                  </a:cubicBezTo>
                  <a:cubicBezTo>
                    <a:pt x="734" y="121"/>
                    <a:pt x="734" y="121"/>
                    <a:pt x="734" y="121"/>
                  </a:cubicBezTo>
                  <a:cubicBezTo>
                    <a:pt x="733" y="119"/>
                    <a:pt x="733" y="119"/>
                    <a:pt x="733" y="119"/>
                  </a:cubicBezTo>
                  <a:cubicBezTo>
                    <a:pt x="735" y="117"/>
                    <a:pt x="735" y="117"/>
                    <a:pt x="735" y="117"/>
                  </a:cubicBezTo>
                  <a:cubicBezTo>
                    <a:pt x="735" y="115"/>
                    <a:pt x="735" y="115"/>
                    <a:pt x="735" y="115"/>
                  </a:cubicBezTo>
                  <a:cubicBezTo>
                    <a:pt x="733" y="112"/>
                    <a:pt x="733" y="112"/>
                    <a:pt x="733" y="112"/>
                  </a:cubicBezTo>
                  <a:cubicBezTo>
                    <a:pt x="732" y="109"/>
                    <a:pt x="732" y="109"/>
                    <a:pt x="732" y="109"/>
                  </a:cubicBezTo>
                  <a:cubicBezTo>
                    <a:pt x="730" y="107"/>
                    <a:pt x="730" y="107"/>
                    <a:pt x="730" y="107"/>
                  </a:cubicBezTo>
                  <a:cubicBezTo>
                    <a:pt x="727" y="107"/>
                    <a:pt x="727" y="107"/>
                    <a:pt x="727" y="107"/>
                  </a:cubicBezTo>
                  <a:cubicBezTo>
                    <a:pt x="723" y="103"/>
                    <a:pt x="723" y="103"/>
                    <a:pt x="723" y="103"/>
                  </a:cubicBezTo>
                  <a:cubicBezTo>
                    <a:pt x="722" y="100"/>
                    <a:pt x="722" y="100"/>
                    <a:pt x="722" y="100"/>
                  </a:cubicBezTo>
                  <a:cubicBezTo>
                    <a:pt x="722" y="97"/>
                    <a:pt x="722" y="97"/>
                    <a:pt x="722" y="97"/>
                  </a:cubicBezTo>
                  <a:cubicBezTo>
                    <a:pt x="722" y="95"/>
                    <a:pt x="722" y="95"/>
                    <a:pt x="722" y="95"/>
                  </a:cubicBezTo>
                  <a:cubicBezTo>
                    <a:pt x="724" y="94"/>
                    <a:pt x="724" y="94"/>
                    <a:pt x="724" y="94"/>
                  </a:cubicBezTo>
                  <a:cubicBezTo>
                    <a:pt x="726" y="95"/>
                    <a:pt x="726" y="95"/>
                    <a:pt x="726" y="95"/>
                  </a:cubicBezTo>
                  <a:cubicBezTo>
                    <a:pt x="728" y="95"/>
                    <a:pt x="728" y="95"/>
                    <a:pt x="728" y="95"/>
                  </a:cubicBezTo>
                  <a:cubicBezTo>
                    <a:pt x="730" y="93"/>
                    <a:pt x="730" y="93"/>
                    <a:pt x="730" y="93"/>
                  </a:cubicBezTo>
                  <a:cubicBezTo>
                    <a:pt x="733" y="93"/>
                    <a:pt x="733" y="93"/>
                    <a:pt x="733" y="93"/>
                  </a:cubicBezTo>
                  <a:cubicBezTo>
                    <a:pt x="735" y="96"/>
                    <a:pt x="735" y="96"/>
                    <a:pt x="735" y="96"/>
                  </a:cubicBezTo>
                  <a:cubicBezTo>
                    <a:pt x="738" y="97"/>
                    <a:pt x="738" y="97"/>
                    <a:pt x="738" y="97"/>
                  </a:cubicBezTo>
                  <a:cubicBezTo>
                    <a:pt x="741" y="95"/>
                    <a:pt x="741" y="95"/>
                    <a:pt x="741" y="95"/>
                  </a:cubicBezTo>
                  <a:cubicBezTo>
                    <a:pt x="741" y="91"/>
                    <a:pt x="741" y="91"/>
                    <a:pt x="741" y="91"/>
                  </a:cubicBezTo>
                  <a:cubicBezTo>
                    <a:pt x="740" y="87"/>
                    <a:pt x="740" y="87"/>
                    <a:pt x="740" y="87"/>
                  </a:cubicBezTo>
                  <a:cubicBezTo>
                    <a:pt x="741" y="85"/>
                    <a:pt x="741" y="85"/>
                    <a:pt x="741" y="85"/>
                  </a:cubicBezTo>
                  <a:cubicBezTo>
                    <a:pt x="745" y="83"/>
                    <a:pt x="745" y="83"/>
                    <a:pt x="745" y="83"/>
                  </a:cubicBezTo>
                  <a:cubicBezTo>
                    <a:pt x="748" y="84"/>
                    <a:pt x="748" y="84"/>
                    <a:pt x="748" y="84"/>
                  </a:cubicBezTo>
                  <a:cubicBezTo>
                    <a:pt x="751" y="85"/>
                    <a:pt x="751" y="85"/>
                    <a:pt x="751" y="85"/>
                  </a:cubicBezTo>
                  <a:cubicBezTo>
                    <a:pt x="754" y="84"/>
                    <a:pt x="754" y="84"/>
                    <a:pt x="754" y="84"/>
                  </a:cubicBezTo>
                  <a:cubicBezTo>
                    <a:pt x="754" y="83"/>
                    <a:pt x="754" y="83"/>
                    <a:pt x="754" y="83"/>
                  </a:cubicBezTo>
                  <a:cubicBezTo>
                    <a:pt x="753" y="80"/>
                    <a:pt x="753" y="80"/>
                    <a:pt x="753" y="80"/>
                  </a:cubicBezTo>
                  <a:cubicBezTo>
                    <a:pt x="747" y="78"/>
                    <a:pt x="747" y="78"/>
                    <a:pt x="747" y="78"/>
                  </a:cubicBezTo>
                  <a:cubicBezTo>
                    <a:pt x="744" y="76"/>
                    <a:pt x="744" y="76"/>
                    <a:pt x="744" y="76"/>
                  </a:cubicBezTo>
                  <a:cubicBezTo>
                    <a:pt x="740" y="73"/>
                    <a:pt x="740" y="73"/>
                    <a:pt x="740" y="73"/>
                  </a:cubicBezTo>
                  <a:cubicBezTo>
                    <a:pt x="734" y="73"/>
                    <a:pt x="734" y="73"/>
                    <a:pt x="734" y="73"/>
                  </a:cubicBezTo>
                  <a:cubicBezTo>
                    <a:pt x="731" y="73"/>
                    <a:pt x="731" y="73"/>
                    <a:pt x="731" y="73"/>
                  </a:cubicBezTo>
                  <a:cubicBezTo>
                    <a:pt x="729" y="70"/>
                    <a:pt x="729" y="70"/>
                    <a:pt x="729" y="70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736" y="69"/>
                    <a:pt x="736" y="69"/>
                    <a:pt x="736" y="69"/>
                  </a:cubicBezTo>
                  <a:cubicBezTo>
                    <a:pt x="736" y="67"/>
                    <a:pt x="736" y="67"/>
                    <a:pt x="736" y="67"/>
                  </a:cubicBezTo>
                  <a:cubicBezTo>
                    <a:pt x="734" y="64"/>
                    <a:pt x="734" y="64"/>
                    <a:pt x="734" y="64"/>
                  </a:cubicBezTo>
                  <a:cubicBezTo>
                    <a:pt x="731" y="63"/>
                    <a:pt x="731" y="63"/>
                    <a:pt x="731" y="63"/>
                  </a:cubicBezTo>
                  <a:cubicBezTo>
                    <a:pt x="730" y="61"/>
                    <a:pt x="730" y="61"/>
                    <a:pt x="730" y="61"/>
                  </a:cubicBezTo>
                  <a:cubicBezTo>
                    <a:pt x="734" y="61"/>
                    <a:pt x="734" y="61"/>
                    <a:pt x="734" y="61"/>
                  </a:cubicBezTo>
                  <a:cubicBezTo>
                    <a:pt x="738" y="62"/>
                    <a:pt x="738" y="62"/>
                    <a:pt x="738" y="62"/>
                  </a:cubicBezTo>
                  <a:cubicBezTo>
                    <a:pt x="740" y="65"/>
                    <a:pt x="740" y="65"/>
                    <a:pt x="740" y="65"/>
                  </a:cubicBezTo>
                  <a:cubicBezTo>
                    <a:pt x="743" y="66"/>
                    <a:pt x="743" y="66"/>
                    <a:pt x="743" y="66"/>
                  </a:cubicBezTo>
                  <a:cubicBezTo>
                    <a:pt x="747" y="66"/>
                    <a:pt x="747" y="66"/>
                    <a:pt x="747" y="66"/>
                  </a:cubicBezTo>
                  <a:cubicBezTo>
                    <a:pt x="750" y="67"/>
                    <a:pt x="750" y="67"/>
                    <a:pt x="750" y="67"/>
                  </a:cubicBezTo>
                  <a:cubicBezTo>
                    <a:pt x="754" y="70"/>
                    <a:pt x="754" y="70"/>
                    <a:pt x="754" y="70"/>
                  </a:cubicBezTo>
                  <a:cubicBezTo>
                    <a:pt x="759" y="72"/>
                    <a:pt x="759" y="72"/>
                    <a:pt x="759" y="72"/>
                  </a:cubicBezTo>
                  <a:cubicBezTo>
                    <a:pt x="763" y="72"/>
                    <a:pt x="763" y="72"/>
                    <a:pt x="763" y="72"/>
                  </a:cubicBezTo>
                  <a:cubicBezTo>
                    <a:pt x="766" y="71"/>
                    <a:pt x="766" y="71"/>
                    <a:pt x="766" y="71"/>
                  </a:cubicBezTo>
                  <a:cubicBezTo>
                    <a:pt x="759" y="67"/>
                    <a:pt x="759" y="67"/>
                    <a:pt x="759" y="67"/>
                  </a:cubicBezTo>
                  <a:cubicBezTo>
                    <a:pt x="755" y="61"/>
                    <a:pt x="755" y="61"/>
                    <a:pt x="755" y="61"/>
                  </a:cubicBezTo>
                  <a:cubicBezTo>
                    <a:pt x="749" y="59"/>
                    <a:pt x="749" y="59"/>
                    <a:pt x="749" y="59"/>
                  </a:cubicBezTo>
                  <a:cubicBezTo>
                    <a:pt x="749" y="62"/>
                    <a:pt x="749" y="62"/>
                    <a:pt x="749" y="62"/>
                  </a:cubicBezTo>
                  <a:cubicBezTo>
                    <a:pt x="745" y="62"/>
                    <a:pt x="745" y="62"/>
                    <a:pt x="745" y="62"/>
                  </a:cubicBezTo>
                  <a:cubicBezTo>
                    <a:pt x="739" y="59"/>
                    <a:pt x="739" y="59"/>
                    <a:pt x="739" y="59"/>
                  </a:cubicBezTo>
                  <a:cubicBezTo>
                    <a:pt x="731" y="55"/>
                    <a:pt x="731" y="55"/>
                    <a:pt x="731" y="55"/>
                  </a:cubicBezTo>
                  <a:cubicBezTo>
                    <a:pt x="724" y="54"/>
                    <a:pt x="724" y="54"/>
                    <a:pt x="724" y="54"/>
                  </a:cubicBezTo>
                  <a:cubicBezTo>
                    <a:pt x="718" y="51"/>
                    <a:pt x="718" y="51"/>
                    <a:pt x="718" y="51"/>
                  </a:cubicBezTo>
                  <a:cubicBezTo>
                    <a:pt x="715" y="48"/>
                    <a:pt x="715" y="48"/>
                    <a:pt x="715" y="48"/>
                  </a:cubicBezTo>
                  <a:cubicBezTo>
                    <a:pt x="709" y="49"/>
                    <a:pt x="709" y="49"/>
                    <a:pt x="709" y="49"/>
                  </a:cubicBezTo>
                  <a:cubicBezTo>
                    <a:pt x="706" y="47"/>
                    <a:pt x="706" y="47"/>
                    <a:pt x="706" y="47"/>
                  </a:cubicBezTo>
                  <a:cubicBezTo>
                    <a:pt x="699" y="48"/>
                    <a:pt x="699" y="48"/>
                    <a:pt x="699" y="48"/>
                  </a:cubicBezTo>
                  <a:cubicBezTo>
                    <a:pt x="696" y="44"/>
                    <a:pt x="696" y="44"/>
                    <a:pt x="696" y="44"/>
                  </a:cubicBezTo>
                  <a:cubicBezTo>
                    <a:pt x="690" y="43"/>
                    <a:pt x="690" y="43"/>
                    <a:pt x="690" y="43"/>
                  </a:cubicBezTo>
                  <a:cubicBezTo>
                    <a:pt x="685" y="41"/>
                    <a:pt x="685" y="41"/>
                    <a:pt x="685" y="41"/>
                  </a:cubicBezTo>
                  <a:cubicBezTo>
                    <a:pt x="679" y="42"/>
                    <a:pt x="679" y="42"/>
                    <a:pt x="679" y="42"/>
                  </a:cubicBezTo>
                  <a:cubicBezTo>
                    <a:pt x="681" y="44"/>
                    <a:pt x="681" y="44"/>
                    <a:pt x="681" y="44"/>
                  </a:cubicBezTo>
                  <a:cubicBezTo>
                    <a:pt x="685" y="47"/>
                    <a:pt x="685" y="47"/>
                    <a:pt x="685" y="47"/>
                  </a:cubicBezTo>
                  <a:cubicBezTo>
                    <a:pt x="683" y="48"/>
                    <a:pt x="683" y="48"/>
                    <a:pt x="683" y="48"/>
                  </a:cubicBezTo>
                  <a:cubicBezTo>
                    <a:pt x="678" y="47"/>
                    <a:pt x="678" y="47"/>
                    <a:pt x="678" y="47"/>
                  </a:cubicBezTo>
                  <a:cubicBezTo>
                    <a:pt x="671" y="45"/>
                    <a:pt x="671" y="45"/>
                    <a:pt x="671" y="45"/>
                  </a:cubicBezTo>
                  <a:cubicBezTo>
                    <a:pt x="658" y="44"/>
                    <a:pt x="658" y="44"/>
                    <a:pt x="658" y="44"/>
                  </a:cubicBezTo>
                  <a:cubicBezTo>
                    <a:pt x="650" y="46"/>
                    <a:pt x="650" y="46"/>
                    <a:pt x="650" y="46"/>
                  </a:cubicBezTo>
                  <a:cubicBezTo>
                    <a:pt x="639" y="39"/>
                    <a:pt x="639" y="39"/>
                    <a:pt x="639" y="39"/>
                  </a:cubicBezTo>
                  <a:cubicBezTo>
                    <a:pt x="634" y="38"/>
                    <a:pt x="634" y="38"/>
                    <a:pt x="634" y="38"/>
                  </a:cubicBezTo>
                  <a:cubicBezTo>
                    <a:pt x="629" y="37"/>
                    <a:pt x="629" y="37"/>
                    <a:pt x="629" y="37"/>
                  </a:cubicBezTo>
                  <a:cubicBezTo>
                    <a:pt x="621" y="38"/>
                    <a:pt x="621" y="38"/>
                    <a:pt x="621" y="38"/>
                  </a:cubicBezTo>
                  <a:cubicBezTo>
                    <a:pt x="615" y="34"/>
                    <a:pt x="615" y="34"/>
                    <a:pt x="615" y="34"/>
                  </a:cubicBezTo>
                  <a:cubicBezTo>
                    <a:pt x="606" y="33"/>
                    <a:pt x="606" y="33"/>
                    <a:pt x="606" y="33"/>
                  </a:cubicBezTo>
                  <a:cubicBezTo>
                    <a:pt x="601" y="33"/>
                    <a:pt x="601" y="33"/>
                    <a:pt x="601" y="33"/>
                  </a:cubicBezTo>
                  <a:cubicBezTo>
                    <a:pt x="597" y="30"/>
                    <a:pt x="597" y="30"/>
                    <a:pt x="597" y="30"/>
                  </a:cubicBezTo>
                  <a:cubicBezTo>
                    <a:pt x="594" y="29"/>
                    <a:pt x="594" y="29"/>
                    <a:pt x="594" y="29"/>
                  </a:cubicBezTo>
                  <a:cubicBezTo>
                    <a:pt x="589" y="33"/>
                    <a:pt x="589" y="33"/>
                    <a:pt x="589" y="33"/>
                  </a:cubicBezTo>
                  <a:cubicBezTo>
                    <a:pt x="581" y="26"/>
                    <a:pt x="581" y="26"/>
                    <a:pt x="581" y="26"/>
                  </a:cubicBezTo>
                  <a:cubicBezTo>
                    <a:pt x="574" y="26"/>
                    <a:pt x="574" y="26"/>
                    <a:pt x="574" y="26"/>
                  </a:cubicBezTo>
                  <a:cubicBezTo>
                    <a:pt x="569" y="24"/>
                    <a:pt x="569" y="24"/>
                    <a:pt x="569" y="24"/>
                  </a:cubicBezTo>
                  <a:cubicBezTo>
                    <a:pt x="568" y="26"/>
                    <a:pt x="568" y="26"/>
                    <a:pt x="568" y="26"/>
                  </a:cubicBezTo>
                  <a:cubicBezTo>
                    <a:pt x="570" y="30"/>
                    <a:pt x="570" y="30"/>
                    <a:pt x="570" y="30"/>
                  </a:cubicBezTo>
                  <a:cubicBezTo>
                    <a:pt x="573" y="32"/>
                    <a:pt x="573" y="32"/>
                    <a:pt x="573" y="32"/>
                  </a:cubicBezTo>
                  <a:cubicBezTo>
                    <a:pt x="569" y="33"/>
                    <a:pt x="569" y="33"/>
                    <a:pt x="569" y="33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54" y="31"/>
                    <a:pt x="554" y="31"/>
                    <a:pt x="554" y="31"/>
                  </a:cubicBezTo>
                  <a:cubicBezTo>
                    <a:pt x="551" y="29"/>
                    <a:pt x="551" y="29"/>
                    <a:pt x="551" y="29"/>
                  </a:cubicBezTo>
                  <a:cubicBezTo>
                    <a:pt x="547" y="30"/>
                    <a:pt x="547" y="30"/>
                    <a:pt x="547" y="30"/>
                  </a:cubicBezTo>
                  <a:cubicBezTo>
                    <a:pt x="549" y="33"/>
                    <a:pt x="549" y="33"/>
                    <a:pt x="549" y="33"/>
                  </a:cubicBezTo>
                  <a:cubicBezTo>
                    <a:pt x="547" y="35"/>
                    <a:pt x="547" y="35"/>
                    <a:pt x="547" y="35"/>
                  </a:cubicBezTo>
                  <a:cubicBezTo>
                    <a:pt x="539" y="31"/>
                    <a:pt x="539" y="31"/>
                    <a:pt x="539" y="31"/>
                  </a:cubicBezTo>
                  <a:cubicBezTo>
                    <a:pt x="528" y="24"/>
                    <a:pt x="528" y="24"/>
                    <a:pt x="528" y="24"/>
                  </a:cubicBezTo>
                  <a:cubicBezTo>
                    <a:pt x="522" y="21"/>
                    <a:pt x="522" y="21"/>
                    <a:pt x="522" y="21"/>
                  </a:cubicBezTo>
                  <a:cubicBezTo>
                    <a:pt x="510" y="20"/>
                    <a:pt x="510" y="20"/>
                    <a:pt x="510" y="20"/>
                  </a:cubicBezTo>
                  <a:cubicBezTo>
                    <a:pt x="507" y="21"/>
                    <a:pt x="507" y="21"/>
                    <a:pt x="507" y="21"/>
                  </a:cubicBezTo>
                  <a:cubicBezTo>
                    <a:pt x="509" y="25"/>
                    <a:pt x="509" y="25"/>
                    <a:pt x="509" y="25"/>
                  </a:cubicBezTo>
                  <a:cubicBezTo>
                    <a:pt x="506" y="26"/>
                    <a:pt x="506" y="26"/>
                    <a:pt x="506" y="26"/>
                  </a:cubicBezTo>
                  <a:cubicBezTo>
                    <a:pt x="500" y="24"/>
                    <a:pt x="500" y="24"/>
                    <a:pt x="500" y="24"/>
                  </a:cubicBezTo>
                  <a:cubicBezTo>
                    <a:pt x="492" y="22"/>
                    <a:pt x="492" y="22"/>
                    <a:pt x="492" y="22"/>
                  </a:cubicBezTo>
                  <a:cubicBezTo>
                    <a:pt x="488" y="21"/>
                    <a:pt x="488" y="21"/>
                    <a:pt x="488" y="21"/>
                  </a:cubicBezTo>
                  <a:cubicBezTo>
                    <a:pt x="480" y="21"/>
                    <a:pt x="480" y="21"/>
                    <a:pt x="480" y="21"/>
                  </a:cubicBezTo>
                  <a:cubicBezTo>
                    <a:pt x="471" y="18"/>
                    <a:pt x="471" y="18"/>
                    <a:pt x="471" y="18"/>
                  </a:cubicBezTo>
                  <a:cubicBezTo>
                    <a:pt x="468" y="19"/>
                    <a:pt x="468" y="19"/>
                    <a:pt x="468" y="19"/>
                  </a:cubicBezTo>
                  <a:cubicBezTo>
                    <a:pt x="465" y="22"/>
                    <a:pt x="465" y="22"/>
                    <a:pt x="465" y="22"/>
                  </a:cubicBezTo>
                  <a:cubicBezTo>
                    <a:pt x="464" y="25"/>
                    <a:pt x="464" y="25"/>
                    <a:pt x="464" y="25"/>
                  </a:cubicBezTo>
                  <a:cubicBezTo>
                    <a:pt x="459" y="25"/>
                    <a:pt x="459" y="25"/>
                    <a:pt x="459" y="25"/>
                  </a:cubicBezTo>
                  <a:cubicBezTo>
                    <a:pt x="461" y="21"/>
                    <a:pt x="461" y="21"/>
                    <a:pt x="461" y="21"/>
                  </a:cubicBezTo>
                  <a:cubicBezTo>
                    <a:pt x="459" y="16"/>
                    <a:pt x="459" y="16"/>
                    <a:pt x="459" y="16"/>
                  </a:cubicBezTo>
                  <a:cubicBezTo>
                    <a:pt x="463" y="15"/>
                    <a:pt x="463" y="15"/>
                    <a:pt x="463" y="15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0" y="9"/>
                    <a:pt x="460" y="9"/>
                    <a:pt x="460" y="9"/>
                  </a:cubicBezTo>
                  <a:cubicBezTo>
                    <a:pt x="457" y="6"/>
                    <a:pt x="457" y="6"/>
                    <a:pt x="457" y="6"/>
                  </a:cubicBezTo>
                  <a:cubicBezTo>
                    <a:pt x="450" y="5"/>
                    <a:pt x="450" y="5"/>
                    <a:pt x="450" y="5"/>
                  </a:cubicBezTo>
                  <a:cubicBezTo>
                    <a:pt x="443" y="3"/>
                    <a:pt x="443" y="3"/>
                    <a:pt x="443" y="3"/>
                  </a:cubicBezTo>
                  <a:cubicBezTo>
                    <a:pt x="436" y="3"/>
                    <a:pt x="436" y="3"/>
                    <a:pt x="436" y="3"/>
                  </a:cubicBezTo>
                  <a:cubicBezTo>
                    <a:pt x="432" y="3"/>
                    <a:pt x="432" y="3"/>
                    <a:pt x="432" y="3"/>
                  </a:cubicBezTo>
                  <a:cubicBezTo>
                    <a:pt x="427" y="2"/>
                    <a:pt x="427" y="2"/>
                    <a:pt x="427" y="2"/>
                  </a:cubicBezTo>
                  <a:cubicBezTo>
                    <a:pt x="424" y="2"/>
                    <a:pt x="424" y="2"/>
                    <a:pt x="424" y="2"/>
                  </a:cubicBezTo>
                  <a:cubicBezTo>
                    <a:pt x="422" y="0"/>
                    <a:pt x="422" y="0"/>
                    <a:pt x="422" y="0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38" tIns="42154" rIns="84338" bIns="42154" anchor="t" anchorCtr="0">
              <a:noAutofit/>
            </a:bodyPr>
            <a:lstStyle/>
            <a:p>
              <a:endParaRPr sz="1659">
                <a:solidFill>
                  <a:srgbClr val="000000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6" name="Google Shape;20298;p275">
            <a:extLst>
              <a:ext uri="{FF2B5EF4-FFF2-40B4-BE49-F238E27FC236}">
                <a16:creationId xmlns:a16="http://schemas.microsoft.com/office/drawing/2014/main" id="{C357CC5B-15C5-64F9-70AD-6E989D62AFCD}"/>
              </a:ext>
            </a:extLst>
          </p:cNvPr>
          <p:cNvSpPr/>
          <p:nvPr/>
        </p:nvSpPr>
        <p:spPr>
          <a:xfrm>
            <a:off x="715854" y="1121997"/>
            <a:ext cx="1963675" cy="5332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12441" tIns="56206" rIns="112441" bIns="56206" anchor="ctr" anchorCtr="0">
            <a:noAutofit/>
          </a:bodyPr>
          <a:lstStyle/>
          <a:p>
            <a:pPr algn="ctr"/>
            <a:endParaRPr sz="1659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38" name="Google Shape;20301;p275">
            <a:extLst>
              <a:ext uri="{FF2B5EF4-FFF2-40B4-BE49-F238E27FC236}">
                <a16:creationId xmlns:a16="http://schemas.microsoft.com/office/drawing/2014/main" id="{DBDF4EBE-BE70-2DF6-F708-6E99FFAEFC7D}"/>
              </a:ext>
            </a:extLst>
          </p:cNvPr>
          <p:cNvSpPr txBox="1"/>
          <p:nvPr/>
        </p:nvSpPr>
        <p:spPr>
          <a:xfrm>
            <a:off x="804056" y="3731119"/>
            <a:ext cx="1787275" cy="215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/>
            <a:r>
              <a:rPr lang="en-US" sz="1398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Notes</a:t>
            </a:r>
            <a:endParaRPr sz="1398" dirty="0"/>
          </a:p>
        </p:txBody>
      </p:sp>
      <p:sp>
        <p:nvSpPr>
          <p:cNvPr id="139" name="Google Shape;20302;p275">
            <a:extLst>
              <a:ext uri="{FF2B5EF4-FFF2-40B4-BE49-F238E27FC236}">
                <a16:creationId xmlns:a16="http://schemas.microsoft.com/office/drawing/2014/main" id="{689E375F-3FC2-ED29-4355-9A3462E30B7E}"/>
              </a:ext>
            </a:extLst>
          </p:cNvPr>
          <p:cNvSpPr txBox="1"/>
          <p:nvPr/>
        </p:nvSpPr>
        <p:spPr>
          <a:xfrm>
            <a:off x="2679529" y="2854614"/>
            <a:ext cx="8932375" cy="215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/>
            <a:r>
              <a:rPr lang="en-US" sz="1398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Insert Text Here</a:t>
            </a:r>
            <a:endParaRPr sz="1398" dirty="0"/>
          </a:p>
        </p:txBody>
      </p:sp>
      <p:sp>
        <p:nvSpPr>
          <p:cNvPr id="140" name="Google Shape;20303;p275">
            <a:extLst>
              <a:ext uri="{FF2B5EF4-FFF2-40B4-BE49-F238E27FC236}">
                <a16:creationId xmlns:a16="http://schemas.microsoft.com/office/drawing/2014/main" id="{7971447F-39AF-2733-BED5-DEE3F32C3EFF}"/>
              </a:ext>
            </a:extLst>
          </p:cNvPr>
          <p:cNvSpPr txBox="1"/>
          <p:nvPr/>
        </p:nvSpPr>
        <p:spPr>
          <a:xfrm>
            <a:off x="2679529" y="3161656"/>
            <a:ext cx="8932375" cy="484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3146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Text</a:t>
            </a:r>
            <a:endParaRPr sz="2098" dirty="0"/>
          </a:p>
        </p:txBody>
      </p:sp>
      <p:sp>
        <p:nvSpPr>
          <p:cNvPr id="142" name="Google Shape;20305;p275">
            <a:extLst>
              <a:ext uri="{FF2B5EF4-FFF2-40B4-BE49-F238E27FC236}">
                <a16:creationId xmlns:a16="http://schemas.microsoft.com/office/drawing/2014/main" id="{036F7DBF-D6B5-0B8F-7D82-B90422965E3B}"/>
              </a:ext>
            </a:extLst>
          </p:cNvPr>
          <p:cNvSpPr txBox="1"/>
          <p:nvPr/>
        </p:nvSpPr>
        <p:spPr>
          <a:xfrm>
            <a:off x="3259388" y="1172341"/>
            <a:ext cx="681657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</p:spTree>
    <p:extLst>
      <p:ext uri="{BB962C8B-B14F-4D97-AF65-F5344CB8AC3E}">
        <p14:creationId xmlns:p14="http://schemas.microsoft.com/office/powerpoint/2010/main" val="4035722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57</cp:revision>
  <dcterms:created xsi:type="dcterms:W3CDTF">2021-03-31T02:49:57Z</dcterms:created>
  <dcterms:modified xsi:type="dcterms:W3CDTF">2025-10-16T11:40:01Z</dcterms:modified>
  <cp:category/>
</cp:coreProperties>
</file>